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4.xml" ContentType="application/vnd.openxmlformats-officedocument.themeOverride+xml"/>
  <Override PartName="/ppt/notesSlides/notesSlide13.xml" ContentType="application/vnd.openxmlformats-officedocument.presentationml.notesSlide+xml"/>
  <Override PartName="/ppt/theme/themeOverride5.xml" ContentType="application/vnd.openxmlformats-officedocument.themeOverr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719" r:id="rId4"/>
    <p:sldMasterId id="2147483735" r:id="rId5"/>
    <p:sldMasterId id="2147483761" r:id="rId6"/>
  </p:sldMasterIdLst>
  <p:notesMasterIdLst>
    <p:notesMasterId r:id="rId23"/>
  </p:notesMasterIdLst>
  <p:sldIdLst>
    <p:sldId id="272" r:id="rId7"/>
    <p:sldId id="257" r:id="rId8"/>
    <p:sldId id="277" r:id="rId9"/>
    <p:sldId id="276" r:id="rId10"/>
    <p:sldId id="271" r:id="rId11"/>
    <p:sldId id="275" r:id="rId12"/>
    <p:sldId id="279" r:id="rId13"/>
    <p:sldId id="278" r:id="rId14"/>
    <p:sldId id="262" r:id="rId15"/>
    <p:sldId id="280" r:id="rId16"/>
    <p:sldId id="263" r:id="rId17"/>
    <p:sldId id="281" r:id="rId18"/>
    <p:sldId id="264" r:id="rId19"/>
    <p:sldId id="282" r:id="rId20"/>
    <p:sldId id="283" r:id="rId21"/>
    <p:sldId id="28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50"/>
    <a:srgbClr val="005E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2" autoAdjust="0"/>
    <p:restoredTop sz="87124" autoAdjust="0"/>
  </p:normalViewPr>
  <p:slideViewPr>
    <p:cSldViewPr snapToGrid="0">
      <p:cViewPr varScale="1">
        <p:scale>
          <a:sx n="83" d="100"/>
          <a:sy n="83" d="100"/>
        </p:scale>
        <p:origin x="352"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C33EEE-855A-4802-94EC-BC982B850A95}" type="datetimeFigureOut">
              <a:rPr lang="en-GB" smtClean="0"/>
              <a:t>01/03/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A23F31-038D-42AE-9FB0-F092C3300160}" type="slidenum">
              <a:rPr lang="en-GB" smtClean="0"/>
              <a:t>‹#›</a:t>
            </a:fld>
            <a:endParaRPr lang="en-GB"/>
          </a:p>
        </p:txBody>
      </p:sp>
    </p:spTree>
    <p:extLst>
      <p:ext uri="{BB962C8B-B14F-4D97-AF65-F5344CB8AC3E}">
        <p14:creationId xmlns:p14="http://schemas.microsoft.com/office/powerpoint/2010/main" val="18924402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azure.microsoft.com/en-gb/documentation/articles/hdinsight-hbase-overview/" TargetMode="External"/><Relationship Id="rId3" Type="http://schemas.openxmlformats.org/officeDocument/2006/relationships/hyperlink" Target="https://azure.microsoft.com/en-gb/documentation/articles/hdinsight-hadoop-introduction/#HDFS" TargetMode="External"/><Relationship Id="rId7" Type="http://schemas.openxmlformats.org/officeDocument/2006/relationships/hyperlink" Target="http://hbase.apache.org/"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gb/documentation/articles/hdinsight-apache-spark-overview/" TargetMode="External"/><Relationship Id="rId5" Type="http://schemas.openxmlformats.org/officeDocument/2006/relationships/hyperlink" Target="http://spark.apache.org/" TargetMode="External"/><Relationship Id="rId10" Type="http://schemas.openxmlformats.org/officeDocument/2006/relationships/hyperlink" Target="https://azure.microsoft.com/en-gb/documentation/articles/hdinsight-storm-sensor-data-analysis/" TargetMode="External"/><Relationship Id="rId4" Type="http://schemas.openxmlformats.org/officeDocument/2006/relationships/hyperlink" Target="https://azure.microsoft.com/en-gb/documentation/articles/hdinsight-hadoop-introduction/#mapreduce" TargetMode="External"/><Relationship Id="rId9" Type="http://schemas.openxmlformats.org/officeDocument/2006/relationships/hyperlink" Target="https://storm.incubator.apache.org/"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233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147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mn-lt"/>
                <a:ea typeface="+mn-ea"/>
                <a:cs typeface="+mn-cs"/>
              </a:rPr>
              <a:t>Adding in you own Azure machine learning model – directly in Stream Analytic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8487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Analytics Suite delivers an end-to-end platform with integrated and comprehensive set of tools and services to help you build intelligent applications that let you easily take advantage of Advanced Analytic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 Cortana Analytics Suit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a:t>
            </a:r>
            <a:r>
              <a:rPr lang="en-US" sz="900" kern="1200" dirty="0" err="1">
                <a:solidFill>
                  <a:schemeClr val="tx1"/>
                </a:solidFill>
                <a:effectLst/>
                <a:latin typeface="Segoe UI Light" pitchFamily="34" charset="0"/>
                <a:ea typeface="+mn-ea"/>
                <a:cs typeface="+mn-cs"/>
              </a:rPr>
              <a:t>colums</a:t>
            </a:r>
            <a:r>
              <a:rPr lang="en-US" sz="900" kern="1200" dirty="0">
                <a:solidFill>
                  <a:schemeClr val="tx1"/>
                </a:solidFill>
                <a:effectLst/>
                <a:latin typeface="Segoe UI Light" pitchFamily="34" charset="0"/>
                <a:ea typeface="+mn-ea"/>
                <a:cs typeface="+mn-cs"/>
              </a:rPr>
              <a:t> 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 does the same for </a:t>
            </a:r>
            <a:r>
              <a:rPr lang="en-US" sz="900" kern="1200" dirty="0" err="1">
                <a:solidFill>
                  <a:schemeClr val="tx1"/>
                </a:solidFill>
                <a:effectLst/>
                <a:latin typeface="Segoe UI Light" pitchFamily="34" charset="0"/>
                <a:ea typeface="+mn-ea"/>
                <a:cs typeface="+mn-cs"/>
              </a:rPr>
              <a:t>IoT</a:t>
            </a:r>
            <a:r>
              <a:rPr lang="en-US" sz="900" kern="1200" dirty="0">
                <a:solidFill>
                  <a:schemeClr val="tx1"/>
                </a:solidFill>
                <a:effectLst/>
                <a:latin typeface="Segoe UI Light" pitchFamily="34" charset="0"/>
                <a:ea typeface="+mn-ea"/>
                <a:cs typeface="+mn-cs"/>
              </a:rPr>
              <a: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and Azure SQL D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Azure ML to Azure HDInsight to Azure Stream Analytics to analyze the data that are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 as well as via integrations with 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6 4: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9203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173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3078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the course of time, data is evolving. Legacy</a:t>
            </a:r>
            <a:r>
              <a:rPr lang="en-US" baseline="0" dirty="0"/>
              <a:t> systems have evolved into the current systems of today. Systems like </a:t>
            </a:r>
            <a:br>
              <a:rPr lang="en-US" baseline="0" dirty="0"/>
            </a:br>
            <a:r>
              <a:rPr lang="en-US" baseline="0" dirty="0"/>
              <a:t>As systems change and evolve to become more timely, accurate, and thoughtful greater opportunities for return on system investments are realized. Big Data and Advanced Analytics systems offer superior return-on-investment.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2C7D03-3E45-4039-B77C-6AAA8DB3123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873777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BD5230-917F-4377-9787-46115713366C}"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9940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S PGothic" panose="020B0600070205080204" pitchFamily="34" charset="-128"/>
                <a:cs typeface="ＭＳ Ｐゴシック" charset="0"/>
              </a:rPr>
              <a:t>With the large amounts of data potentially available for analysis, managing data flows efficiently can be a challenge.</a:t>
            </a:r>
          </a:p>
          <a:p>
            <a:pPr lvl="0"/>
            <a:r>
              <a:rPr lang="en-US" sz="1200" kern="1200" dirty="0">
                <a:solidFill>
                  <a:schemeClr val="tx1"/>
                </a:solidFill>
                <a:effectLst/>
                <a:latin typeface="+mn-lt"/>
                <a:ea typeface="MS PGothic" panose="020B0600070205080204" pitchFamily="34" charset="-128"/>
                <a:cs typeface="ＭＳ Ｐゴシック" charset="0"/>
              </a:rPr>
              <a:t>Huge amounts of data to process (volume)</a:t>
            </a:r>
          </a:p>
          <a:p>
            <a:pPr lvl="0"/>
            <a:r>
              <a:rPr lang="en-US" sz="1200" kern="1200" dirty="0">
                <a:solidFill>
                  <a:schemeClr val="tx1"/>
                </a:solidFill>
                <a:effectLst/>
                <a:latin typeface="+mn-lt"/>
                <a:ea typeface="MS PGothic" panose="020B0600070205080204" pitchFamily="34" charset="-128"/>
                <a:cs typeface="ＭＳ Ｐゴシック" charset="0"/>
              </a:rPr>
              <a:t>A mixture of structured and unstructured data (variety)</a:t>
            </a:r>
          </a:p>
          <a:p>
            <a:pPr lvl="0"/>
            <a:r>
              <a:rPr lang="en-US" sz="1200" kern="1200" dirty="0">
                <a:solidFill>
                  <a:schemeClr val="tx1"/>
                </a:solidFill>
                <a:effectLst/>
                <a:latin typeface="+mn-lt"/>
                <a:ea typeface="MS PGothic" panose="020B0600070205080204" pitchFamily="34" charset="-128"/>
                <a:cs typeface="ＭＳ Ｐゴシック" charset="0"/>
              </a:rPr>
              <a:t>New data that’s generated extremely frequently (velocity) </a:t>
            </a:r>
          </a:p>
          <a:p>
            <a:pPr lvl="0"/>
            <a:r>
              <a:rPr lang="en-US" sz="1200" kern="1200" dirty="0">
                <a:solidFill>
                  <a:schemeClr val="tx1"/>
                </a:solidFill>
                <a:effectLst/>
                <a:latin typeface="+mn-lt"/>
                <a:ea typeface="MS PGothic" panose="020B0600070205080204" pitchFamily="34" charset="-128"/>
                <a:cs typeface="ＭＳ Ｐゴシック" charset="0"/>
              </a:rPr>
              <a:t>Data quality so that it can be trusted (veracit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000000"/>
              </a:solidFill>
              <a:effectLst/>
              <a:uLnTx/>
              <a:uFillTx/>
              <a:latin typeface="Segoe UI"/>
            </a:endParaRPr>
          </a:p>
        </p:txBody>
      </p:sp>
    </p:spTree>
    <p:extLst>
      <p:ext uri="{BB962C8B-B14F-4D97-AF65-F5344CB8AC3E}">
        <p14:creationId xmlns:p14="http://schemas.microsoft.com/office/powerpoint/2010/main" val="3604266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5986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b="0" dirty="0"/>
              <a:t>There are 3 canonical scenarios when we</a:t>
            </a:r>
            <a:r>
              <a:rPr lang="en-US" b="0" baseline="0" dirty="0"/>
              <a:t> talk</a:t>
            </a:r>
            <a:r>
              <a:rPr lang="en-US" b="0" dirty="0"/>
              <a:t> about Stream Analytics</a:t>
            </a:r>
            <a:r>
              <a:rPr lang="en-US" b="0" baseline="0" dirty="0"/>
              <a:t> that categorize the use cases we just looked at.</a:t>
            </a:r>
          </a:p>
          <a:p>
            <a:pPr marL="171450" indent="-171450">
              <a:buFont typeface="Arial" panose="020B0604020202020204" pitchFamily="34" charset="0"/>
              <a:buChar char="•"/>
            </a:pPr>
            <a:r>
              <a:rPr lang="en-US" b="0" baseline="0" dirty="0"/>
              <a:t>You can look at these 3 scenarios in different ways: 1) by required human interaction to respond or take an action 2) the response time required to make a decis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1" baseline="0" dirty="0"/>
              <a:t>But how does a customer get started with implementing real-time stream processing today?</a:t>
            </a:r>
            <a:endParaRPr lang="en-US" b="1" dirty="0"/>
          </a:p>
          <a:p>
            <a:endParaRPr lang="en-US" b="1" dirty="0"/>
          </a:p>
          <a:p>
            <a:r>
              <a:rPr lang="en-US" b="1" dirty="0"/>
              <a:t>Talk track:</a:t>
            </a:r>
          </a:p>
          <a:p>
            <a:pPr marL="171450" indent="-171450">
              <a:buFont typeface="Arial" panose="020B0604020202020204" pitchFamily="34" charset="0"/>
              <a:buChar char="•"/>
            </a:pPr>
            <a:r>
              <a:rPr lang="en-US" b="1" dirty="0"/>
              <a:t>Enrich: Retain for</a:t>
            </a:r>
            <a:r>
              <a:rPr lang="en-US" b="1" baseline="0" dirty="0"/>
              <a:t> Future Processing</a:t>
            </a:r>
            <a:endParaRPr lang="en-US" b="1"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arge volumes of data coming in and customers don’t necessarily know</a:t>
            </a:r>
            <a:r>
              <a:rPr lang="en-US" baseline="0" dirty="0"/>
              <a:t> what they want to do with the data yet but want to retain it for later processing, such as with </a:t>
            </a:r>
            <a:r>
              <a:rPr lang="en-US" baseline="0" dirty="0" err="1"/>
              <a:t>HDInsight</a:t>
            </a:r>
            <a:r>
              <a:rPr lang="en-US" baseline="0" dirty="0"/>
              <a:t>, or as input to develop machine learning mode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Will provide minimal processing such as removing PII information, adding geo-tagging, IP lookup, etc.</a:t>
            </a:r>
          </a:p>
          <a:p>
            <a:pPr marL="171450" indent="-171450">
              <a:buFont typeface="Arial" panose="020B0604020202020204" pitchFamily="34" charset="0"/>
              <a:buChar char="•"/>
            </a:pPr>
            <a:r>
              <a:rPr lang="en-US" b="1" dirty="0"/>
              <a:t>Analytics:</a:t>
            </a:r>
            <a:r>
              <a:rPr lang="en-US" b="1" baseline="0" dirty="0"/>
              <a:t> Telemetry/Log Process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ext step up the maturity and value curve although there is still a human performing an action, such as monitoring or responding to an alert, with the insight gleaned from the analytics of the real-time data. This is still limited by human</a:t>
            </a:r>
            <a:r>
              <a:rPr lang="en-US" baseline="0" dirty="0"/>
              <a:t> response time which isn’t milliseconds and could be in the minutes or hou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more data is gathered and processed Machine Learning can also be used to develop and learn from patterns seen in the system such that it is possible to better predict when machines may need to be serviced or when things are about to go wrong.</a:t>
            </a:r>
            <a:endParaRPr lang="en-US" baseline="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S PGothic" panose="020B0600070205080204" pitchFamily="34" charset="-128"/>
                <a:cs typeface="+mn-cs"/>
              </a:rPr>
              <a:t>An example of this scenario is a cloud service that has </a:t>
            </a:r>
            <a:r>
              <a:rPr lang="en-US" sz="1200" kern="1200" dirty="0">
                <a:solidFill>
                  <a:schemeClr val="tx1"/>
                </a:solidFill>
                <a:effectLst/>
                <a:latin typeface="+mn-lt"/>
                <a:ea typeface="MS PGothic" panose="020B0600070205080204" pitchFamily="34" charset="-128"/>
                <a:cs typeface="+mn-cs"/>
              </a:rPr>
              <a:t>clusters producing tons of log events (servers), and there is a need to monitor in real-time to resolve the issues faster.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S PGothic" panose="020B0600070205080204" pitchFamily="34" charset="-128"/>
                <a:cs typeface="+mn-cs"/>
              </a:rPr>
              <a:t>If</a:t>
            </a:r>
            <a:r>
              <a:rPr lang="en-US" sz="1200" kern="1200" baseline="0" dirty="0">
                <a:solidFill>
                  <a:schemeClr val="tx1"/>
                </a:solidFill>
                <a:effectLst/>
                <a:latin typeface="+mn-lt"/>
                <a:ea typeface="MS PGothic" panose="020B0600070205080204" pitchFamily="34" charset="-128"/>
                <a:cs typeface="+mn-cs"/>
              </a:rPr>
              <a:t> the same error e</a:t>
            </a:r>
            <a:r>
              <a:rPr lang="en-US" sz="1200" kern="1200" dirty="0">
                <a:solidFill>
                  <a:schemeClr val="tx1"/>
                </a:solidFill>
                <a:effectLst/>
                <a:latin typeface="+mn-lt"/>
                <a:ea typeface="MS PGothic" panose="020B0600070205080204" pitchFamily="34" charset="-128"/>
                <a:cs typeface="+mn-cs"/>
              </a:rPr>
              <a:t>vent comes in from 3 separate streams in a 5 minute window, raise a ticket to resolve the issue before customers report it.</a:t>
            </a:r>
            <a:endParaRPr lang="en-US" b="1" baseline="0" dirty="0"/>
          </a:p>
          <a:p>
            <a:pPr marL="171450" indent="-171450">
              <a:buFont typeface="Arial" panose="020B0604020202020204" pitchFamily="34" charset="0"/>
              <a:buChar char="•"/>
            </a:pPr>
            <a:r>
              <a:rPr lang="en-US" b="1" baseline="0" dirty="0"/>
              <a:t>Actions: </a:t>
            </a:r>
            <a:r>
              <a:rPr lang="en-US" b="1" baseline="0" dirty="0" err="1"/>
              <a:t>IoT</a:t>
            </a:r>
            <a:endParaRPr lang="en-US" b="1" baseline="0" dirty="0"/>
          </a:p>
          <a:p>
            <a:pPr marL="628650" lvl="1" indent="-171450" rtl="0" fontAlgn="ctr">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We’re talking about the command and control tight</a:t>
            </a:r>
            <a:r>
              <a:rPr lang="en-US" sz="1200" kern="1200" baseline="0" dirty="0">
                <a:solidFill>
                  <a:schemeClr val="tx1"/>
                </a:solidFill>
                <a:effectLst/>
                <a:latin typeface="+mn-lt"/>
                <a:ea typeface="MS PGothic" panose="020B0600070205080204" pitchFamily="34" charset="-128"/>
                <a:cs typeface="+mn-cs"/>
              </a:rPr>
              <a:t> loop when talking about </a:t>
            </a:r>
            <a:r>
              <a:rPr lang="en-US" sz="1200" kern="1200" baseline="0" dirty="0" err="1">
                <a:solidFill>
                  <a:schemeClr val="tx1"/>
                </a:solidFill>
                <a:effectLst/>
                <a:latin typeface="+mn-lt"/>
                <a:ea typeface="MS PGothic" panose="020B0600070205080204" pitchFamily="34" charset="-128"/>
                <a:cs typeface="+mn-cs"/>
              </a:rPr>
              <a:t>IoT</a:t>
            </a:r>
            <a:r>
              <a:rPr lang="en-US" sz="1200" kern="1200" baseline="0" dirty="0">
                <a:solidFill>
                  <a:schemeClr val="tx1"/>
                </a:solidFill>
                <a:effectLst/>
                <a:latin typeface="+mn-lt"/>
                <a:ea typeface="MS PGothic" panose="020B0600070205080204" pitchFamily="34" charset="-128"/>
                <a:cs typeface="+mn-cs"/>
              </a:rPr>
              <a:t>. Devices/sensors send data, it is processed, a decision is made, and a command is sent back to the device to control it.</a:t>
            </a:r>
          </a:p>
          <a:p>
            <a:pPr marL="628650" lvl="1" indent="-171450" rtl="0" fontAlgn="ctr">
              <a:buFont typeface="Arial" panose="020B0604020202020204" pitchFamily="34" charset="0"/>
              <a:buChar char="•"/>
            </a:pPr>
            <a:r>
              <a:rPr lang="en-US" sz="1200" kern="1200" baseline="0" dirty="0">
                <a:solidFill>
                  <a:schemeClr val="tx1"/>
                </a:solidFill>
                <a:effectLst/>
                <a:latin typeface="+mn-lt"/>
                <a:ea typeface="MS PGothic" panose="020B0600070205080204" pitchFamily="34" charset="-128"/>
                <a:cs typeface="+mn-cs"/>
              </a:rPr>
              <a:t>This is up the maturity and value curve again and can produce millisecond response times.</a:t>
            </a:r>
          </a:p>
          <a:p>
            <a:pPr marL="628650" lvl="1" indent="-171450">
              <a:buFont typeface="Arial" panose="020B0604020202020204" pitchFamily="34" charset="0"/>
              <a:buChar char="•"/>
            </a:pPr>
            <a:r>
              <a:rPr lang="en-US" dirty="0"/>
              <a:t>Another</a:t>
            </a:r>
            <a:r>
              <a:rPr lang="en-US" baseline="0" dirty="0"/>
              <a:t> example is a vending machine sending inventory and health data. </a:t>
            </a:r>
            <a:r>
              <a:rPr lang="en-US" dirty="0"/>
              <a:t>In some cases, the action that needs to be taken may be as simple as rebooting the machine or pushing down a firmware upgrade which can be done without the need for human interaction. </a:t>
            </a:r>
          </a:p>
          <a:p>
            <a:pPr marL="628650" lvl="1" indent="-171450">
              <a:buFont typeface="Arial" panose="020B0604020202020204" pitchFamily="34" charset="0"/>
              <a:buChar char="•"/>
            </a:pPr>
            <a:r>
              <a:rPr lang="en-US" dirty="0"/>
              <a:t>As more data is gathered and processed Machine Learning can also be used to develop and learn from patterns seen in the system such that it is possible to better predict when machines may need to be serviced or when things are about to go wrong.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141F5E1-0F7F-4ABB-A5CC-E4A04EB74652}"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2016</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67065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Hadoop</a:t>
            </a:r>
            <a:r>
              <a:rPr lang="en-GB" dirty="0"/>
              <a:t> (the "Query" workload): Provides reliable data storage with </a:t>
            </a:r>
            <a:r>
              <a:rPr lang="en-GB" dirty="0">
                <a:hlinkClick r:id="rId3"/>
              </a:rPr>
              <a:t>HDFS</a:t>
            </a:r>
            <a:r>
              <a:rPr lang="en-GB" dirty="0"/>
              <a:t>, and a simple </a:t>
            </a:r>
            <a:r>
              <a:rPr lang="en-GB" dirty="0">
                <a:hlinkClick r:id="rId4"/>
              </a:rPr>
              <a:t>MapReduce</a:t>
            </a:r>
            <a:r>
              <a:rPr lang="en-GB" dirty="0"/>
              <a:t> programming model to process and </a:t>
            </a:r>
            <a:r>
              <a:rPr lang="en-GB" dirty="0" err="1"/>
              <a:t>analyze</a:t>
            </a:r>
            <a:r>
              <a:rPr lang="en-GB" dirty="0"/>
              <a:t> data in parallel.</a:t>
            </a:r>
          </a:p>
          <a:p>
            <a:r>
              <a:rPr lang="en-GB" b="1" dirty="0">
                <a:hlinkClick r:id="rId5"/>
              </a:rPr>
              <a:t>Apache Spark</a:t>
            </a:r>
            <a:r>
              <a:rPr lang="en-GB" dirty="0"/>
              <a:t>: A parallel processing framework that supports in-memory processing to boost the performance of big-data analysis applications, Spark works for SQL, streaming data, and machine learning. See </a:t>
            </a:r>
            <a:r>
              <a:rPr lang="en-GB" dirty="0">
                <a:hlinkClick r:id="rId6"/>
              </a:rPr>
              <a:t>Overview: What is Apache Spark in HDInsight?</a:t>
            </a:r>
            <a:endParaRPr lang="en-GB" dirty="0"/>
          </a:p>
          <a:p>
            <a:r>
              <a:rPr lang="en-GB" b="1" dirty="0" err="1">
                <a:hlinkClick r:id="rId7"/>
              </a:rPr>
              <a:t>HBase</a:t>
            </a:r>
            <a:r>
              <a:rPr lang="en-GB" dirty="0"/>
              <a:t> (the "NoSQL" workload): A NoSQL database built on Hadoop that provides random access and strong consistency for large amounts of unstructured and semi-structured data - potentially billions of rows times millions of columns. See </a:t>
            </a:r>
            <a:r>
              <a:rPr lang="en-GB" dirty="0">
                <a:hlinkClick r:id="rId8"/>
              </a:rPr>
              <a:t>Overview of </a:t>
            </a:r>
            <a:r>
              <a:rPr lang="en-GB" dirty="0" err="1">
                <a:hlinkClick r:id="rId8"/>
              </a:rPr>
              <a:t>HBase</a:t>
            </a:r>
            <a:r>
              <a:rPr lang="en-GB" dirty="0">
                <a:hlinkClick r:id="rId8"/>
              </a:rPr>
              <a:t> on HDInsight</a:t>
            </a:r>
            <a:r>
              <a:rPr lang="en-GB" dirty="0"/>
              <a:t>.</a:t>
            </a:r>
          </a:p>
          <a:p>
            <a:r>
              <a:rPr lang="en-GB" b="1" dirty="0">
                <a:hlinkClick r:id="rId9"/>
              </a:rPr>
              <a:t>Apache Storm</a:t>
            </a:r>
            <a:r>
              <a:rPr lang="en-GB" dirty="0"/>
              <a:t> (the "Stream" workload): A distributed, real-time computation system for processing large streams of data fast. Storm is offered as a managed cluster in HDInsight. See </a:t>
            </a:r>
            <a:r>
              <a:rPr lang="en-GB" dirty="0" err="1">
                <a:hlinkClick r:id="rId10"/>
              </a:rPr>
              <a:t>Analyze</a:t>
            </a:r>
            <a:r>
              <a:rPr lang="en-GB" dirty="0">
                <a:hlinkClick r:id="rId10"/>
              </a:rPr>
              <a:t> real-time sensor data using Storm and Hadoop</a:t>
            </a:r>
            <a:r>
              <a:rPr lang="en-GB" dirty="0"/>
              <a:t>.</a:t>
            </a:r>
          </a:p>
          <a:p>
            <a:endParaRPr lang="en-GB" dirty="0"/>
          </a:p>
        </p:txBody>
      </p:sp>
      <p:sp>
        <p:nvSpPr>
          <p:cNvPr id="4" name="Slide Number Placeholder 3"/>
          <p:cNvSpPr>
            <a:spLocks noGrp="1"/>
          </p:cNvSpPr>
          <p:nvPr>
            <p:ph type="sldNum" sz="quarter" idx="10"/>
          </p:nvPr>
        </p:nvSpPr>
        <p:spPr/>
        <p:txBody>
          <a:bodyPr/>
          <a:lstStyle/>
          <a:p>
            <a:fld id="{C5A23F31-038D-42AE-9FB0-F092C3300160}" type="slidenum">
              <a:rPr lang="en-GB" smtClean="0"/>
              <a:t>9</a:t>
            </a:fld>
            <a:endParaRPr lang="en-GB"/>
          </a:p>
        </p:txBody>
      </p:sp>
    </p:spTree>
    <p:extLst>
      <p:ext uri="{BB962C8B-B14F-4D97-AF65-F5344CB8AC3E}">
        <p14:creationId xmlns:p14="http://schemas.microsoft.com/office/powerpoint/2010/main" val="4189290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189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2314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6.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427B665-B68E-45D2-B178-AA91C4C7238B}" type="datetimeFigureOut">
              <a:rPr lang="en-GB" smtClean="0"/>
              <a:t>01/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15871795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427B665-B68E-45D2-B178-AA91C4C7238B}" type="datetimeFigureOut">
              <a:rPr lang="en-GB" smtClean="0"/>
              <a:t>01/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16576313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6217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69298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504511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0818069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610339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284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513544131"/>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dirty="0"/>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88629640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2990486483"/>
      </p:ext>
    </p:extLst>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419143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427B665-B68E-45D2-B178-AA91C4C7238B}" type="datetimeFigureOut">
              <a:rPr lang="en-GB" smtClean="0"/>
              <a:t>01/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15033680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9545979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519763"/>
      </p:ext>
    </p:extLst>
  </p:cSld>
  <p:clrMapOvr>
    <a:masterClrMapping/>
  </p:clrMapOvr>
  <p:transition spd="med">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228575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44698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642751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093274"/>
            <a:ext cx="9859116"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2401050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103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669802"/>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14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5230451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4"/>
            <a:ext cx="8964248" cy="271311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444338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2"/>
            <a:ext cx="11653523" cy="2570822"/>
          </a:xfrm>
        </p:spPr>
        <p:txBody>
          <a:bodyPr lIns="146304" tIns="91440" rIns="146304" bIns="91440"/>
          <a:lstStyle>
            <a:lvl1pPr marL="0" indent="0">
              <a:lnSpc>
                <a:spcPct val="90000"/>
              </a:lnSpc>
              <a:buFontTx/>
              <a:buNone/>
              <a:defRPr sz="8626" b="0">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277864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97848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9742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631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39439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5208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66561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10952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8017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427B665-B68E-45D2-B178-AA91C4C7238B}" type="datetimeFigureOut">
              <a:rPr lang="en-GB" smtClean="0"/>
              <a:t>01/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573318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096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17840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8519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9104753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1616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7514135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89929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84798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0016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1948482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427B665-B68E-45D2-B178-AA91C4C7238B}" type="datetimeFigureOut">
              <a:rPr lang="en-GB" smtClean="0"/>
              <a:t>01/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3186771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5748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29461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320939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387374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836266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15825577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46894299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011771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339427729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7029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A427B665-B68E-45D2-B178-AA91C4C7238B}" type="datetimeFigureOut">
              <a:rPr lang="en-GB" smtClean="0"/>
              <a:t>01/03/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15127339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693042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2035107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660974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930352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63700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710015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9033286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5106923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411397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4067312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A427B665-B68E-45D2-B178-AA91C4C7238B}" type="datetimeFigureOut">
              <a:rPr lang="en-GB" smtClean="0"/>
              <a:t>01/03/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10661340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606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0378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6583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16422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25943824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73553009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261685614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013383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7826328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3686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427B665-B68E-45D2-B178-AA91C4C7238B}" type="datetimeFigureOut">
              <a:rPr lang="en-GB" smtClean="0"/>
              <a:t>01/03/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28396552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075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598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151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07610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99785718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4252545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21583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5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56768963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125740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96388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427B665-B68E-45D2-B178-AA91C4C7238B}" type="datetimeFigureOut">
              <a:rPr lang="en-GB" smtClean="0"/>
              <a:t>01/03/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21527952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587267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90478759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19699544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253762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3380084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819052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57516148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750730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64349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6277176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427B665-B68E-45D2-B178-AA91C4C7238B}" type="datetimeFigureOut">
              <a:rPr lang="en-GB" smtClean="0"/>
              <a:t>01/03/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39308925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2320263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86793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2745"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64178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2937" y="6220952"/>
            <a:ext cx="1653406" cy="356169"/>
          </a:xfrm>
          <a:prstGeom prst="rect">
            <a:avLst/>
          </a:prstGeom>
        </p:spPr>
      </p:pic>
    </p:spTree>
    <p:extLst>
      <p:ext uri="{BB962C8B-B14F-4D97-AF65-F5344CB8AC3E}">
        <p14:creationId xmlns:p14="http://schemas.microsoft.com/office/powerpoint/2010/main" val="252958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337892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Tree>
    <p:extLst>
      <p:ext uri="{BB962C8B-B14F-4D97-AF65-F5344CB8AC3E}">
        <p14:creationId xmlns:p14="http://schemas.microsoft.com/office/powerpoint/2010/main" val="575107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906791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84912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968663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656680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427B665-B68E-45D2-B178-AA91C4C7238B}" type="datetimeFigureOut">
              <a:rPr lang="en-GB" smtClean="0"/>
              <a:t>01/03/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73683C6-A337-40B1-881D-D362D6138D21}" type="slidenum">
              <a:rPr lang="en-GB" smtClean="0"/>
              <a:t>‹#›</a:t>
            </a:fld>
            <a:endParaRPr lang="en-GB"/>
          </a:p>
        </p:txBody>
      </p:sp>
    </p:spTree>
    <p:extLst>
      <p:ext uri="{BB962C8B-B14F-4D97-AF65-F5344CB8AC3E}">
        <p14:creationId xmlns:p14="http://schemas.microsoft.com/office/powerpoint/2010/main" val="40058350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486311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636744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089400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511884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30056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146702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48558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9169565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974451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70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slideLayout" Target="../slideLayouts/slideLayout6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image" Target="../media/image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theme" Target="../theme/theme3.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6" Type="http://schemas.openxmlformats.org/officeDocument/2006/relationships/image" Target="../media/image18.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4.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heme" Target="../theme/theme5.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27B665-B68E-45D2-B178-AA91C4C7238B}" type="datetimeFigureOut">
              <a:rPr lang="en-GB" smtClean="0"/>
              <a:t>01/03/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3683C6-A337-40B1-881D-D362D6138D21}" type="slidenum">
              <a:rPr lang="en-GB" smtClean="0"/>
              <a:t>‹#›</a:t>
            </a:fld>
            <a:endParaRPr lang="en-GB"/>
          </a:p>
        </p:txBody>
      </p:sp>
    </p:spTree>
    <p:extLst>
      <p:ext uri="{BB962C8B-B14F-4D97-AF65-F5344CB8AC3E}">
        <p14:creationId xmlns:p14="http://schemas.microsoft.com/office/powerpoint/2010/main" val="12954435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03/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71451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2487497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50210339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946908"/>
      </p:ext>
    </p:extLst>
  </p:cSld>
  <p:clrMap bg1="dk1" tx1="lt1" bg2="dk2" tx2="lt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105955358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8.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8.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8.xml"/><Relationship Id="rId1" Type="http://schemas.openxmlformats.org/officeDocument/2006/relationships/themeOverride" Target="../theme/themeOverride3.xml"/></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6.pn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3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emf"/><Relationship Id="rId2" Type="http://schemas.openxmlformats.org/officeDocument/2006/relationships/notesSlide" Target="../notesSlides/notesSlide12.xml"/><Relationship Id="rId1" Type="http://schemas.openxmlformats.org/officeDocument/2006/relationships/slideLayout" Target="../slideLayouts/slideLayout90.xml"/><Relationship Id="rId6" Type="http://schemas.openxmlformats.org/officeDocument/2006/relationships/image" Target="../media/image56.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hyperlink" Target="https://www.microsoft.com/en-gb/server-cloud/cortana-analytics-suite/overview.aspx" TargetMode="External"/><Relationship Id="rId2" Type="http://schemas.openxmlformats.org/officeDocument/2006/relationships/slideLayout" Target="../slideLayouts/slideLayout68.xml"/><Relationship Id="rId1" Type="http://schemas.openxmlformats.org/officeDocument/2006/relationships/themeOverride" Target="../theme/themeOverride4.xml"/><Relationship Id="rId6" Type="http://schemas.openxmlformats.org/officeDocument/2006/relationships/hyperlink" Target="https://azure.microsoft.com/" TargetMode="External"/><Relationship Id="rId5" Type="http://schemas.openxmlformats.org/officeDocument/2006/relationships/hyperlink" Target="https://azure.microsoft.com/en-gb/documentation/articles/hdinsight-hadoop-introduction/" TargetMode="External"/><Relationship Id="rId4" Type="http://schemas.openxmlformats.org/officeDocument/2006/relationships/hyperlink" Target="https://azure.microsoft.com/en-us/services/stream-analytics/"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14.xml"/><Relationship Id="rId7" Type="http://schemas.openxmlformats.org/officeDocument/2006/relationships/image" Target="../media/image64.png"/><Relationship Id="rId2" Type="http://schemas.openxmlformats.org/officeDocument/2006/relationships/slideLayout" Target="../slideLayouts/slideLayout68.xml"/><Relationship Id="rId1" Type="http://schemas.openxmlformats.org/officeDocument/2006/relationships/themeOverride" Target="../theme/themeOverride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5.xml"/><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xml"/><Relationship Id="rId1" Type="http://schemas.openxmlformats.org/officeDocument/2006/relationships/slideLayout" Target="../slideLayouts/slideLayout113.xml"/><Relationship Id="rId5" Type="http://schemas.openxmlformats.org/officeDocument/2006/relationships/image" Target="../media/image43.emf"/><Relationship Id="rId4" Type="http://schemas.openxmlformats.org/officeDocument/2006/relationships/image" Target="../media/image42.emf"/></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a:solidFill>
                  <a:srgbClr val="F2F2F2"/>
                </a:solidFill>
                <a:latin typeface="Segoe UI Light" panose="020B0502040204020203" pitchFamily="34" charset="0"/>
                <a:cs typeface="Segoe UI Light" panose="020B0502040204020203" pitchFamily="34" charset="0"/>
              </a:rPr>
              <a:t>Real Time Data and Human Happiness?</a:t>
            </a:r>
            <a:br>
              <a:rPr lang="en-GB" sz="7200" dirty="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391374" y="5951039"/>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grpSp>
        <p:nvGrpSpPr>
          <p:cNvPr id="15" name="Group 14"/>
          <p:cNvGrpSpPr/>
          <p:nvPr/>
        </p:nvGrpSpPr>
        <p:grpSpPr>
          <a:xfrm>
            <a:off x="10851839" y="290613"/>
            <a:ext cx="1049875" cy="1356759"/>
            <a:chOff x="8856125" y="1067127"/>
            <a:chExt cx="528555" cy="752153"/>
          </a:xfrm>
        </p:grpSpPr>
        <p:sp>
          <p:nvSpPr>
            <p:cNvPr id="5"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 name="Group 5"/>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182701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a:solidFill>
                  <a:schemeClr val="bg1"/>
                </a:solidFill>
                <a:latin typeface="Segoe UI Light" panose="020B0502040204020203" pitchFamily="34" charset="0"/>
                <a:cs typeface="Segoe UI Light" panose="020B0502040204020203" pitchFamily="34" charset="0"/>
              </a:rPr>
              <a:t>The Current Level of Human Happiness?</a:t>
            </a:r>
            <a:br>
              <a:rPr lang="en-GB" sz="7200" dirty="0">
                <a:solidFill>
                  <a:schemeClr val="bg1"/>
                </a:solidFill>
                <a:latin typeface="Segoe UI Light" panose="020B0502040204020203" pitchFamily="34" charset="0"/>
                <a:cs typeface="Segoe UI Light" panose="020B0502040204020203" pitchFamily="34" charset="0"/>
              </a:rPr>
            </a:br>
            <a:r>
              <a:rPr lang="en-GB" sz="3200" dirty="0">
                <a:solidFill>
                  <a:srgbClr val="F2F2F2"/>
                </a:solidFill>
                <a:latin typeface="Segoe UI Light" panose="020B0502040204020203" pitchFamily="34" charset="0"/>
                <a:cs typeface="Segoe UI Light" panose="020B0502040204020203" pitchFamily="34" charset="0"/>
              </a:rPr>
              <a:t>Real Time Twitter Data and Sentiment Analysis</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4290509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ASA: Twitter Demo Architecture</a:t>
            </a:r>
            <a:endParaRPr lang="en-US" sz="3598" i="1" dirty="0"/>
          </a:p>
        </p:txBody>
      </p:sp>
      <p:pic>
        <p:nvPicPr>
          <p:cNvPr id="15" name="Picture 1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16275" y="1884467"/>
            <a:ext cx="1010087" cy="1010087"/>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4812" y="2542898"/>
            <a:ext cx="1010087" cy="1010087"/>
          </a:xfrm>
          <a:prstGeom prst="rect">
            <a:avLst/>
          </a:prstGeom>
        </p:spPr>
      </p:pic>
      <p:pic>
        <p:nvPicPr>
          <p:cNvPr id="17" name="Picture 1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909778" y="1841053"/>
            <a:ext cx="1010087" cy="1010087"/>
          </a:xfrm>
          <a:prstGeom prst="rect">
            <a:avLst/>
          </a:prstGeom>
        </p:spPr>
      </p:pic>
      <p:pic>
        <p:nvPicPr>
          <p:cNvPr id="18" name="Picture 1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4420750" y="3229925"/>
            <a:ext cx="1010087" cy="1010087"/>
          </a:xfrm>
          <a:prstGeom prst="rect">
            <a:avLst/>
          </a:prstGeom>
        </p:spPr>
      </p:pic>
      <p:pic>
        <p:nvPicPr>
          <p:cNvPr id="19" name="Picture 1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357480" y="4028273"/>
            <a:ext cx="942747" cy="942747"/>
          </a:xfrm>
          <a:prstGeom prst="rect">
            <a:avLst/>
          </a:prstGeom>
        </p:spPr>
      </p:pic>
      <p:pic>
        <p:nvPicPr>
          <p:cNvPr id="20" name="Picture 1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372739" y="1884467"/>
            <a:ext cx="1010087" cy="1010087"/>
          </a:xfrm>
          <a:prstGeom prst="rect">
            <a:avLst/>
          </a:prstGeom>
        </p:spPr>
      </p:pic>
      <p:sp>
        <p:nvSpPr>
          <p:cNvPr id="21" name="Freeform 20"/>
          <p:cNvSpPr/>
          <p:nvPr/>
        </p:nvSpPr>
        <p:spPr>
          <a:xfrm>
            <a:off x="1497883" y="5291471"/>
            <a:ext cx="1364070" cy="1295305"/>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sp>
        <p:nvSpPr>
          <p:cNvPr id="22" name="Freeform 21"/>
          <p:cNvSpPr/>
          <p:nvPr/>
        </p:nvSpPr>
        <p:spPr>
          <a:xfrm>
            <a:off x="2838195" y="2331585"/>
            <a:ext cx="1334474" cy="1379615"/>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sp>
        <p:nvSpPr>
          <p:cNvPr id="23" name="Freeform 22"/>
          <p:cNvSpPr/>
          <p:nvPr/>
        </p:nvSpPr>
        <p:spPr>
          <a:xfrm>
            <a:off x="6409382" y="1635981"/>
            <a:ext cx="1613876" cy="7046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6283" y="5433323"/>
            <a:ext cx="1011600" cy="1011600"/>
          </a:xfrm>
          <a:prstGeom prst="rect">
            <a:avLst/>
          </a:prstGeom>
        </p:spPr>
      </p:pic>
      <p:sp>
        <p:nvSpPr>
          <p:cNvPr id="13" name="Footer Placeholder 3"/>
          <p:cNvSpPr txBox="1">
            <a:spLocks/>
          </p:cNvSpPr>
          <p:nvPr/>
        </p:nvSpPr>
        <p:spPr>
          <a:xfrm>
            <a:off x="9741173" y="5974672"/>
            <a:ext cx="2183907" cy="61210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dirty="0">
                <a:solidFill>
                  <a:schemeClr val="bg1"/>
                </a:solidFill>
                <a:latin typeface="Segoe UI"/>
              </a:rPr>
              <a:t>#welc2017</a:t>
            </a:r>
            <a:endParaRPr kumimoji="0" lang="en-GB" sz="3200" b="0" i="0" u="none" strike="noStrike" kern="1200" cap="none" spc="0" normalizeH="0" baseline="0" noProof="0" dirty="0">
              <a:ln>
                <a:noFill/>
              </a:ln>
              <a:solidFill>
                <a:schemeClr val="bg1"/>
              </a:solidFill>
              <a:effectLst/>
              <a:uLnTx/>
              <a:uFillTx/>
              <a:latin typeface="Segoe UI"/>
            </a:endParaRPr>
          </a:p>
        </p:txBody>
      </p:sp>
      <p:grpSp>
        <p:nvGrpSpPr>
          <p:cNvPr id="14" name="Group 13"/>
          <p:cNvGrpSpPr/>
          <p:nvPr/>
        </p:nvGrpSpPr>
        <p:grpSpPr>
          <a:xfrm>
            <a:off x="11135299" y="279222"/>
            <a:ext cx="789781" cy="909956"/>
            <a:chOff x="8856125" y="1067127"/>
            <a:chExt cx="528555" cy="752153"/>
          </a:xfrm>
        </p:grpSpPr>
        <p:sp>
          <p:nvSpPr>
            <p:cNvPr id="24"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5" name="Group 24"/>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2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0"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1"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2"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3"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5405811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a:solidFill>
                  <a:schemeClr val="bg1"/>
                </a:solidFill>
                <a:latin typeface="Segoe UI Light" panose="020B0502040204020203" pitchFamily="34" charset="0"/>
                <a:cs typeface="Segoe UI Light" panose="020B0502040204020203" pitchFamily="34" charset="0"/>
              </a:rPr>
              <a:t>Build Your Own Real Time Prediction Engine</a:t>
            </a:r>
            <a:br>
              <a:rPr lang="en-GB" sz="7200" dirty="0">
                <a:solidFill>
                  <a:schemeClr val="bg1"/>
                </a:solidFill>
                <a:latin typeface="Segoe UI Light" panose="020B0502040204020203" pitchFamily="34" charset="0"/>
                <a:cs typeface="Segoe UI Light" panose="020B0502040204020203" pitchFamily="34" charset="0"/>
              </a:rPr>
            </a:br>
            <a:r>
              <a:rPr lang="en-GB" sz="3200" dirty="0">
                <a:solidFill>
                  <a:srgbClr val="F2F2F2"/>
                </a:solidFill>
                <a:latin typeface="Segoe UI Light" panose="020B0502040204020203" pitchFamily="34" charset="0"/>
                <a:cs typeface="Segoe UI Light" panose="020B0502040204020203" pitchFamily="34" charset="0"/>
              </a:rPr>
              <a:t>Real Time Azure Machine Learning Models</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1956248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ASA: Twitter Demo Architecture</a:t>
            </a:r>
            <a:endParaRPr lang="en-US" sz="3598" i="1" dirty="0"/>
          </a:p>
        </p:txBody>
      </p:sp>
      <p:pic>
        <p:nvPicPr>
          <p:cNvPr id="15" name="Picture 1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345423" y="2586812"/>
            <a:ext cx="1010087" cy="1010087"/>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629212" y="2542898"/>
            <a:ext cx="1010087" cy="1010087"/>
          </a:xfrm>
          <a:prstGeom prst="rect">
            <a:avLst/>
          </a:prstGeom>
        </p:spPr>
      </p:pic>
      <p:pic>
        <p:nvPicPr>
          <p:cNvPr id="18" name="Picture 1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349898" y="3932270"/>
            <a:ext cx="1010087" cy="1010087"/>
          </a:xfrm>
          <a:prstGeom prst="rect">
            <a:avLst/>
          </a:prstGeom>
        </p:spPr>
      </p:pic>
      <p:pic>
        <p:nvPicPr>
          <p:cNvPr id="19" name="Picture 18"/>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566944" y="3999610"/>
            <a:ext cx="942747" cy="942747"/>
          </a:xfrm>
          <a:prstGeom prst="rect">
            <a:avLst/>
          </a:prstGeom>
        </p:spPr>
      </p:pic>
      <p:sp>
        <p:nvSpPr>
          <p:cNvPr id="21" name="Freeform 20"/>
          <p:cNvSpPr/>
          <p:nvPr/>
        </p:nvSpPr>
        <p:spPr>
          <a:xfrm>
            <a:off x="1624614" y="5149007"/>
            <a:ext cx="2157273" cy="1047073"/>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sp>
        <p:nvSpPr>
          <p:cNvPr id="22" name="Freeform 21"/>
          <p:cNvSpPr/>
          <p:nvPr/>
        </p:nvSpPr>
        <p:spPr>
          <a:xfrm rot="1012018">
            <a:off x="3972069" y="1890740"/>
            <a:ext cx="2745671" cy="888055"/>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sp>
        <p:nvSpPr>
          <p:cNvPr id="23" name="Freeform 22"/>
          <p:cNvSpPr/>
          <p:nvPr/>
        </p:nvSpPr>
        <p:spPr>
          <a:xfrm>
            <a:off x="7323782" y="1635981"/>
            <a:ext cx="3063092" cy="7046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8426" y="5184480"/>
            <a:ext cx="1011600" cy="1011600"/>
          </a:xfrm>
          <a:prstGeom prst="rect">
            <a:avLst/>
          </a:prstGeom>
        </p:spPr>
      </p:pic>
      <p:sp>
        <p:nvSpPr>
          <p:cNvPr id="13" name="Freeform 12"/>
          <p:cNvSpPr/>
          <p:nvPr/>
        </p:nvSpPr>
        <p:spPr>
          <a:xfrm rot="1504293" flipV="1">
            <a:off x="6863043" y="4000206"/>
            <a:ext cx="1599541" cy="638221"/>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sp>
        <p:nvSpPr>
          <p:cNvPr id="24" name="Freeform 23"/>
          <p:cNvSpPr/>
          <p:nvPr/>
        </p:nvSpPr>
        <p:spPr>
          <a:xfrm rot="14384479">
            <a:off x="7882602" y="2691285"/>
            <a:ext cx="1422612" cy="1008836"/>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solidFill>
              <a:srgbClr val="FFFFFF"/>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404040"/>
              </a:solidFill>
              <a:effectLst/>
              <a:uLnTx/>
              <a:uFillTx/>
              <a:latin typeface="Segoe UI"/>
            </a:endParaRPr>
          </a:p>
        </p:txBody>
      </p:sp>
      <p:pic>
        <p:nvPicPr>
          <p:cNvPr id="2" name="Picture 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564496" y="1754292"/>
            <a:ext cx="943200" cy="943200"/>
          </a:xfrm>
          <a:prstGeom prst="rect">
            <a:avLst/>
          </a:prstGeom>
        </p:spPr>
      </p:pic>
      <p:sp>
        <p:nvSpPr>
          <p:cNvPr id="14" name="Footer Placeholder 3"/>
          <p:cNvSpPr txBox="1">
            <a:spLocks/>
          </p:cNvSpPr>
          <p:nvPr/>
        </p:nvSpPr>
        <p:spPr>
          <a:xfrm>
            <a:off x="9741173" y="5974672"/>
            <a:ext cx="2183907" cy="61210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dirty="0">
                <a:solidFill>
                  <a:schemeClr val="bg1"/>
                </a:solidFill>
                <a:latin typeface="Segoe UI"/>
              </a:rPr>
              <a:t>#welc2017</a:t>
            </a:r>
            <a:endParaRPr kumimoji="0" lang="en-GB" sz="3200" b="0" i="0" u="none" strike="noStrike" kern="1200" cap="none" spc="0" normalizeH="0" baseline="0" noProof="0" dirty="0">
              <a:ln>
                <a:noFill/>
              </a:ln>
              <a:solidFill>
                <a:schemeClr val="bg1"/>
              </a:solidFill>
              <a:effectLst/>
              <a:uLnTx/>
              <a:uFillTx/>
              <a:latin typeface="Segoe UI"/>
            </a:endParaRPr>
          </a:p>
        </p:txBody>
      </p:sp>
      <p:grpSp>
        <p:nvGrpSpPr>
          <p:cNvPr id="17" name="Group 16"/>
          <p:cNvGrpSpPr/>
          <p:nvPr/>
        </p:nvGrpSpPr>
        <p:grpSpPr>
          <a:xfrm>
            <a:off x="11135299" y="279222"/>
            <a:ext cx="789781" cy="909956"/>
            <a:chOff x="8856125" y="1067127"/>
            <a:chExt cx="528555" cy="752153"/>
          </a:xfrm>
        </p:grpSpPr>
        <p:sp>
          <p:nvSpPr>
            <p:cNvPr id="20"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5" name="Group 24"/>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2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0"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1"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2"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3"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202749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17" name="Group 16"/>
          <p:cNvGrpSpPr/>
          <p:nvPr/>
        </p:nvGrpSpPr>
        <p:grpSpPr>
          <a:xfrm>
            <a:off x="10403224" y="2321171"/>
            <a:ext cx="463664" cy="213342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10833" y="5151585"/>
            <a:ext cx="520199" cy="639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70178" y="5005630"/>
            <a:ext cx="2095724" cy="98606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Recommendations,</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er churn,</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grpSp>
      </p:grpSp>
      <p:grpSp>
        <p:nvGrpSpPr>
          <p:cNvPr id="15" name="Group 14"/>
          <p:cNvGrpSpPr/>
          <p:nvPr/>
        </p:nvGrpSpPr>
        <p:grpSpPr>
          <a:xfrm>
            <a:off x="8370178" y="3913902"/>
            <a:ext cx="2095725" cy="98606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014" cy="278760"/>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5" name="Group 24"/>
          <p:cNvGrpSpPr/>
          <p:nvPr/>
        </p:nvGrpSpPr>
        <p:grpSpPr>
          <a:xfrm>
            <a:off x="8360273" y="2832422"/>
            <a:ext cx="2105631" cy="98606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70178" y="1753023"/>
            <a:ext cx="2095726" cy="98606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grpSp>
        <p:sp>
          <p:nvSpPr>
            <p:cNvPr id="86" name="Rectangle 85"/>
            <p:cNvSpPr/>
            <p:nvPr/>
          </p:nvSpPr>
          <p:spPr>
            <a:xfrm>
              <a:off x="9204619" y="2421304"/>
              <a:ext cx="736862" cy="278760"/>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4506" y="1755687"/>
            <a:ext cx="2323554" cy="4235175"/>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 </a:t>
              </a:r>
              <a:b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39497" cy="461665"/>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05010" cy="461665"/>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 name="Group 7"/>
          <p:cNvGrpSpPr/>
          <p:nvPr/>
        </p:nvGrpSpPr>
        <p:grpSpPr>
          <a:xfrm>
            <a:off x="3944101" y="1753023"/>
            <a:ext cx="2328341" cy="4235175"/>
            <a:chOff x="4015087" y="1790105"/>
            <a:chExt cx="2375029" cy="4320099"/>
          </a:xfrm>
        </p:grpSpPr>
        <p:sp>
          <p:nvSpPr>
            <p:cNvPr id="42" name="Rectangle 41"/>
            <p:cNvSpPr/>
            <p:nvPr/>
          </p:nvSpPr>
          <p:spPr bwMode="auto">
            <a:xfrm>
              <a:off x="4015087" y="179010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5"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p:cNvSpPr/>
            <p:nvPr/>
          </p:nvSpPr>
          <p:spPr>
            <a:xfrm>
              <a:off x="4508069" y="3352325"/>
              <a:ext cx="1171419" cy="463335"/>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Store</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2" name="Rectangle 81"/>
            <p:cNvSpPr/>
            <p:nvPr/>
          </p:nvSpPr>
          <p:spPr>
            <a:xfrm>
              <a:off x="4489683" y="4446182"/>
              <a:ext cx="1463542" cy="453970"/>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a:t>
              </a: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12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83" name="Freeform 389"/>
          <p:cNvSpPr>
            <a:spLocks noEditPoints="1"/>
          </p:cNvSpPr>
          <p:nvPr/>
        </p:nvSpPr>
        <p:spPr bwMode="auto">
          <a:xfrm>
            <a:off x="8886475" y="338353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latin typeface="Segoe UI"/>
            </a:endParaRPr>
          </a:p>
        </p:txBody>
      </p:sp>
      <p:sp>
        <p:nvSpPr>
          <p:cNvPr id="5" name="Title 1"/>
          <p:cNvSpPr>
            <a:spLocks noGrp="1"/>
          </p:cNvSpPr>
          <p:nvPr>
            <p:ph type="title"/>
          </p:nvPr>
        </p:nvSpPr>
        <p:spPr>
          <a:prstGeom prst="rect">
            <a:avLst/>
          </a:prstGeom>
        </p:spPr>
        <p:txBody>
          <a:bodyPr/>
          <a:lstStyle/>
          <a:p>
            <a:r>
              <a:rPr lang="en-US" dirty="0"/>
              <a:t>Cortana Analytics Suite</a:t>
            </a:r>
            <a:br>
              <a:rPr lang="en-US" dirty="0"/>
            </a:br>
            <a:r>
              <a:rPr lang="en-US" sz="3528" dirty="0"/>
              <a:t>Transform data into intelligent action</a:t>
            </a:r>
          </a:p>
        </p:txBody>
      </p:sp>
      <p:sp>
        <p:nvSpPr>
          <p:cNvPr id="20" name="Rectangle 19"/>
          <p:cNvSpPr/>
          <p:nvPr/>
        </p:nvSpPr>
        <p:spPr>
          <a:xfrm>
            <a:off x="393635" y="6078705"/>
            <a:ext cx="642265"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801" y="2091264"/>
            <a:ext cx="1520654" cy="3739169"/>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sp>
          <p:nvSpPr>
            <p:cNvPr id="3" name="TextBox 2"/>
            <p:cNvSpPr txBox="1"/>
            <p:nvPr/>
          </p:nvSpPr>
          <p:spPr>
            <a:xfrm>
              <a:off x="290952" y="2519818"/>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sp>
          <p:nvSpPr>
            <p:cNvPr id="110" name="TextBox 109"/>
            <p:cNvSpPr txBox="1"/>
            <p:nvPr/>
          </p:nvSpPr>
          <p:spPr>
            <a:xfrm>
              <a:off x="276231" y="5332876"/>
              <a:ext cx="1551146"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ensor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grpSp>
      <p:sp>
        <p:nvSpPr>
          <p:cNvPr id="21" name="Rectangle 20"/>
          <p:cNvSpPr/>
          <p:nvPr/>
        </p:nvSpPr>
        <p:spPr>
          <a:xfrm>
            <a:off x="5123400" y="6078705"/>
            <a:ext cx="1407879"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763" y="6117374"/>
            <a:ext cx="3416476" cy="254512"/>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p:cNvSpPr/>
          <p:nvPr/>
        </p:nvSpPr>
        <p:spPr>
          <a:xfrm>
            <a:off x="10915445" y="6078705"/>
            <a:ext cx="876912"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5717" y="3016192"/>
            <a:ext cx="1215508" cy="1033688"/>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grpSp>
        <p:sp>
          <p:nvSpPr>
            <p:cNvPr id="119" name="TextBox 118"/>
            <p:cNvSpPr txBox="1"/>
            <p:nvPr/>
          </p:nvSpPr>
          <p:spPr>
            <a:xfrm>
              <a:off x="10920388" y="3380620"/>
              <a:ext cx="1239881" cy="454697"/>
            </a:xfrm>
            <a:prstGeom prst="rect">
              <a:avLst/>
            </a:prstGeom>
            <a:noFill/>
          </p:spPr>
          <p:txBody>
            <a:bodyPr wrap="square" lIns="179259" tIns="143407" rIns="179259" bIns="143407" rtlCol="0">
              <a:spAutoFit/>
            </a:bodyPr>
            <a:lstStyle/>
            <a:p>
              <a:pPr marL="0" marR="0" lvl="0" indent="0" algn="ctr"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6888" y="4667611"/>
            <a:ext cx="1055875" cy="1282933"/>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ndParaRPr>
              </a:p>
            </p:txBody>
          </p:sp>
        </p:grpSp>
        <p:sp>
          <p:nvSpPr>
            <p:cNvPr id="124" name="TextBox 123"/>
            <p:cNvSpPr txBox="1"/>
            <p:nvPr/>
          </p:nvSpPr>
          <p:spPr>
            <a:xfrm>
              <a:off x="11084791" y="5455396"/>
              <a:ext cx="1077047"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utomated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51341" y="6117374"/>
            <a:ext cx="3750854" cy="254512"/>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p:cNvSpPr/>
          <p:nvPr/>
        </p:nvSpPr>
        <p:spPr bwMode="auto">
          <a:xfrm>
            <a:off x="1720762" y="1755687"/>
            <a:ext cx="2038628" cy="4235175"/>
          </a:xfrm>
          <a:prstGeom prst="rect">
            <a:avLst/>
          </a:prstGeom>
          <a:solidFill>
            <a:srgbClr val="0097C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55443" y="2831159"/>
            <a:ext cx="367734" cy="367734"/>
          </a:xfrm>
          <a:prstGeom prst="rect">
            <a:avLst/>
          </a:prstGeom>
        </p:spPr>
      </p:pic>
      <p:sp>
        <p:nvSpPr>
          <p:cNvPr id="77" name="Freeform 30"/>
          <p:cNvSpPr>
            <a:spLocks noEditPoints="1"/>
          </p:cNvSpPr>
          <p:nvPr/>
        </p:nvSpPr>
        <p:spPr bwMode="auto">
          <a:xfrm>
            <a:off x="1905472" y="3918109"/>
            <a:ext cx="267676" cy="34059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marL="0" marR="0" lvl="0" indent="0" defTabSz="878004"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S PGothic" charset="0"/>
            </a:endParaRPr>
          </a:p>
        </p:txBody>
      </p:sp>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55443" y="4903672"/>
            <a:ext cx="332971" cy="345877"/>
          </a:xfrm>
          <a:prstGeom prst="rect">
            <a:avLst/>
          </a:prstGeom>
        </p:spPr>
      </p:pic>
      <p:sp>
        <p:nvSpPr>
          <p:cNvPr id="4" name="Rectangle 3"/>
          <p:cNvSpPr/>
          <p:nvPr/>
        </p:nvSpPr>
        <p:spPr>
          <a:xfrm>
            <a:off x="2250302" y="2832303"/>
            <a:ext cx="989285" cy="452590"/>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Factory </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9" name="Rectangle 78"/>
          <p:cNvSpPr/>
          <p:nvPr/>
        </p:nvSpPr>
        <p:spPr>
          <a:xfrm>
            <a:off x="2250302" y="3845667"/>
            <a:ext cx="979669" cy="452590"/>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Catalog</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Rectangle 79"/>
          <p:cNvSpPr/>
          <p:nvPr/>
        </p:nvSpPr>
        <p:spPr>
          <a:xfrm>
            <a:off x="2250302" y="4857859"/>
            <a:ext cx="817239" cy="452590"/>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Event Hub</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2" name="Group 11"/>
          <p:cNvGrpSpPr/>
          <p:nvPr/>
        </p:nvGrpSpPr>
        <p:grpSpPr>
          <a:xfrm>
            <a:off x="3712600" y="5151587"/>
            <a:ext cx="289439" cy="836894"/>
            <a:chOff x="3832324" y="5254390"/>
            <a:chExt cx="295243" cy="853675"/>
          </a:xfrm>
          <a:solidFill>
            <a:srgbClr val="0097C0"/>
          </a:solidFill>
        </p:grpSpPr>
        <p:sp>
          <p:nvSpPr>
            <p:cNvPr id="144" name="Isosceles Triangle 143"/>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p:cNvPicPr>
            <a:picLocks noChangeAspect="1"/>
          </p:cNvPicPr>
          <p:nvPr/>
        </p:nvPicPr>
        <p:blipFill>
          <a:blip r:embed="rId10"/>
          <a:stretch>
            <a:fillRect/>
          </a:stretch>
        </p:blipFill>
        <p:spPr>
          <a:xfrm flipH="1">
            <a:off x="4062744" y="2661138"/>
            <a:ext cx="346377" cy="340041"/>
          </a:xfrm>
          <a:prstGeom prst="rect">
            <a:avLst/>
          </a:prstGeom>
        </p:spPr>
      </p:pic>
      <p:sp>
        <p:nvSpPr>
          <p:cNvPr id="168" name="Rectangle 167"/>
          <p:cNvSpPr/>
          <p:nvPr/>
        </p:nvSpPr>
        <p:spPr>
          <a:xfrm>
            <a:off x="4427392" y="2600728"/>
            <a:ext cx="1364348" cy="454227"/>
          </a:xfrm>
          <a:prstGeom prst="rect">
            <a:avLst/>
          </a:prstGeom>
        </p:spPr>
        <p:txBody>
          <a:bodyPr wrap="non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Analytics</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76" name="Group 175"/>
          <p:cNvGrpSpPr/>
          <p:nvPr/>
        </p:nvGrpSpPr>
        <p:grpSpPr>
          <a:xfrm>
            <a:off x="10851839" y="290613"/>
            <a:ext cx="1049875" cy="1356759"/>
            <a:chOff x="8856125" y="1067127"/>
            <a:chExt cx="528555" cy="752153"/>
          </a:xfrm>
        </p:grpSpPr>
        <p:sp>
          <p:nvSpPr>
            <p:cNvPr id="177"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8" name="Group 177"/>
            <p:cNvGrpSpPr/>
            <p:nvPr/>
          </p:nvGrpSpPr>
          <p:grpSpPr>
            <a:xfrm rot="10800000">
              <a:off x="8985702" y="1454736"/>
              <a:ext cx="274574" cy="364544"/>
              <a:chOff x="-1278804" y="2084340"/>
              <a:chExt cx="217157" cy="248510"/>
            </a:xfrm>
            <a:gradFill>
              <a:gsLst>
                <a:gs pos="0">
                  <a:srgbClr val="FFFFFF"/>
                </a:gs>
                <a:gs pos="100000">
                  <a:srgbClr val="FFFFFF">
                    <a:alpha val="0"/>
                  </a:srgbClr>
                </a:gs>
              </a:gsLst>
              <a:lin ang="16200000" scaled="1"/>
            </a:gradFill>
          </p:grpSpPr>
          <p:sp>
            <p:nvSpPr>
              <p:cNvPr id="17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878714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1500"/>
                                        <p:tgtEl>
                                          <p:spTgt spid="2"/>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1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par>
                          <p:cTn id="20" fill="hold">
                            <p:stCondLst>
                              <p:cond delay="17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37"/>
                                        </p:tgtEl>
                                        <p:attrNameLst>
                                          <p:attrName>style.visibility</p:attrName>
                                        </p:attrNameLst>
                                      </p:cBhvr>
                                      <p:to>
                                        <p:strVal val="visible"/>
                                      </p:to>
                                    </p:set>
                                    <p:animEffect transition="in" filter="wipe(left)">
                                      <p:cBhvr>
                                        <p:cTn id="26" dur="1600"/>
                                        <p:tgtEl>
                                          <p:spTgt spid="37"/>
                                        </p:tgtEl>
                                      </p:cBhvr>
                                    </p:animEffect>
                                  </p:childTnLst>
                                </p:cTn>
                              </p:par>
                            </p:childTnLst>
                          </p:cTn>
                        </p:par>
                        <p:par>
                          <p:cTn id="27" fill="hold">
                            <p:stCondLst>
                              <p:cond delay="3300"/>
                            </p:stCondLst>
                            <p:childTnLst>
                              <p:par>
                                <p:cTn id="28" presetID="10" presetClass="entr" presetSubtype="0"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par>
                          <p:cTn id="43" fill="hold">
                            <p:stCondLst>
                              <p:cond delay="5300"/>
                            </p:stCondLst>
                            <p:childTnLst>
                              <p:par>
                                <p:cTn id="44" presetID="22" presetClass="entr" presetSubtype="8" fill="hold" nodeType="after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wipe(left)">
                                      <p:cBhvr>
                                        <p:cTn id="46" dur="500"/>
                                        <p:tgtEl>
                                          <p:spTgt spid="17"/>
                                        </p:tgtEl>
                                      </p:cBhvr>
                                    </p:animEffect>
                                  </p:childTnLst>
                                </p:cTn>
                              </p:par>
                              <p:par>
                                <p:cTn id="47" presetID="22" presetClass="entr" presetSubtype="4" fill="hold" nodeType="withEffect">
                                  <p:stCondLst>
                                    <p:cond delay="0"/>
                                  </p:stCondLst>
                                  <p:childTnLst>
                                    <p:set>
                                      <p:cBhvr>
                                        <p:cTn id="48" dur="1" fill="hold">
                                          <p:stCondLst>
                                            <p:cond delay="0"/>
                                          </p:stCondLst>
                                        </p:cTn>
                                        <p:tgtEl>
                                          <p:spTgt spid="113"/>
                                        </p:tgtEl>
                                        <p:attrNameLst>
                                          <p:attrName>style.visibility</p:attrName>
                                        </p:attrNameLst>
                                      </p:cBhvr>
                                      <p:to>
                                        <p:strVal val="visible"/>
                                      </p:to>
                                    </p:set>
                                    <p:animEffect transition="in" filter="wipe(down)">
                                      <p:cBhvr>
                                        <p:cTn id="49" dur="500"/>
                                        <p:tgtEl>
                                          <p:spTgt spid="113"/>
                                        </p:tgtEl>
                                      </p:cBhvr>
                                    </p:animEffect>
                                  </p:childTnLst>
                                </p:cTn>
                              </p:par>
                            </p:childTnLst>
                          </p:cTn>
                        </p:par>
                        <p:par>
                          <p:cTn id="50" fill="hold">
                            <p:stCondLst>
                              <p:cond delay="5800"/>
                            </p:stCondLst>
                            <p:childTnLst>
                              <p:par>
                                <p:cTn id="51" presetID="10" presetClass="entr" presetSubtype="0" fill="hold" nodeType="after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9045" y="245803"/>
            <a:ext cx="11216461" cy="2387600"/>
          </a:xfrm>
        </p:spPr>
        <p:txBody>
          <a:bodyPr anchor="t">
            <a:noAutofit/>
          </a:bodyPr>
          <a:lstStyle/>
          <a:p>
            <a:pPr>
              <a:lnSpc>
                <a:spcPct val="100000"/>
              </a:lnSpc>
            </a:pPr>
            <a:r>
              <a:rPr lang="en-GB" sz="7200" dirty="0">
                <a:solidFill>
                  <a:schemeClr val="bg1">
                    <a:lumMod val="95000"/>
                  </a:schemeClr>
                </a:solidFill>
                <a:latin typeface="Segoe UI Light" panose="020B0502040204020203" pitchFamily="34" charset="0"/>
                <a:cs typeface="Segoe UI Light" panose="020B0502040204020203" pitchFamily="34" charset="0"/>
              </a:rPr>
              <a:t>Thanks for listening</a:t>
            </a:r>
            <a:br>
              <a:rPr lang="en-GB" sz="4800" dirty="0">
                <a:solidFill>
                  <a:schemeClr val="bg1">
                    <a:lumMod val="95000"/>
                  </a:schemeClr>
                </a:solidFill>
                <a:latin typeface="Segoe UI Light" panose="020B0502040204020203" pitchFamily="34" charset="0"/>
                <a:cs typeface="Segoe UI Light" panose="020B0502040204020203" pitchFamily="34" charset="0"/>
              </a:rPr>
            </a:br>
            <a:endParaRPr lang="en-GB" sz="7200" dirty="0">
              <a:solidFill>
                <a:schemeClr val="bg1">
                  <a:lumMod val="95000"/>
                </a:schemeClr>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595261" y="6099175"/>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13" name="TextBox 12"/>
          <p:cNvSpPr txBox="1"/>
          <p:nvPr/>
        </p:nvSpPr>
        <p:spPr>
          <a:xfrm>
            <a:off x="461639" y="1592904"/>
            <a:ext cx="6889072"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Segoe UI Light"/>
                <a:ea typeface="+mn-ea"/>
                <a:cs typeface="+mn-cs"/>
              </a:rPr>
              <a:t>Next Steps…</a:t>
            </a:r>
          </a:p>
        </p:txBody>
      </p:sp>
      <p:sp>
        <p:nvSpPr>
          <p:cNvPr id="36" name="Rectangle 35"/>
          <p:cNvSpPr/>
          <p:nvPr/>
        </p:nvSpPr>
        <p:spPr>
          <a:xfrm>
            <a:off x="1427614" y="3936359"/>
            <a:ext cx="9779078" cy="1015663"/>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rPr>
              <a:t>Learn</a:t>
            </a:r>
            <a:r>
              <a:rPr kumimoji="0" lang="en-US" sz="2400" b="0" i="0" u="none" strike="noStrike" kern="1200" cap="none" spc="0" normalizeH="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rPr>
              <a:t> more about Azure Stream Analytics and Azure HDInsight services</a:t>
            </a:r>
          </a:p>
          <a:p>
            <a:pPr lvl="0" defTabSz="932472" fontAlgn="base">
              <a:spcBef>
                <a:spcPct val="0"/>
              </a:spcBef>
              <a:spcAft>
                <a:spcPct val="0"/>
              </a:spcAft>
              <a:defRPr/>
            </a:pPr>
            <a:r>
              <a:rPr lang="en-US" dirty="0">
                <a:solidFill>
                  <a:srgbClr val="FFFFFF"/>
                </a:solidFill>
                <a:latin typeface="Segoe UI Light" panose="020B0502040204020203" pitchFamily="34" charset="0"/>
                <a:ea typeface="Segoe UI" pitchFamily="34" charset="0"/>
                <a:cs typeface="Segoe UI Light" panose="020B0502040204020203" pitchFamily="34" charset="0"/>
                <a:hlinkClick r:id="rId4"/>
              </a:rPr>
              <a:t>https://azure.microsoft.com/en-us/services/stream-analytics/</a:t>
            </a:r>
            <a:endParaRPr lang="en-US" dirty="0">
              <a:solidFill>
                <a:srgbClr val="FFFFFF"/>
              </a:solidFill>
              <a:latin typeface="Segoe UI Light" panose="020B0502040204020203" pitchFamily="34" charset="0"/>
              <a:ea typeface="Segoe UI" pitchFamily="34" charset="0"/>
              <a:cs typeface="Segoe UI Light" panose="020B0502040204020203" pitchFamily="34" charset="0"/>
            </a:endParaRPr>
          </a:p>
          <a:p>
            <a:pPr lvl="0" defTabSz="932472" fontAlgn="base">
              <a:spcBef>
                <a:spcPct val="0"/>
              </a:spcBef>
              <a:spcAft>
                <a:spcPct val="0"/>
              </a:spcAft>
              <a:defRPr/>
            </a:pPr>
            <a:r>
              <a:rPr lang="en-US" dirty="0">
                <a:solidFill>
                  <a:srgbClr val="FFFFFF"/>
                </a:solidFill>
                <a:latin typeface="Segoe UI Light" panose="020B0502040204020203" pitchFamily="34" charset="0"/>
                <a:ea typeface="Segoe UI" pitchFamily="34" charset="0"/>
                <a:cs typeface="Segoe UI Light" panose="020B0502040204020203" pitchFamily="34" charset="0"/>
                <a:hlinkClick r:id="rId5"/>
              </a:rPr>
              <a:t>https://azure.microsoft.com/en-gb/documentation/articles/hdinsight-hadoop-introduction/</a:t>
            </a:r>
            <a:r>
              <a:rPr lang="en-US" dirty="0">
                <a:solidFill>
                  <a:srgbClr val="FFFFFF"/>
                </a:solidFill>
                <a:latin typeface="Segoe UI Light" panose="020B0502040204020203" pitchFamily="34" charset="0"/>
                <a:ea typeface="Segoe UI" pitchFamily="34" charset="0"/>
                <a:cs typeface="Segoe UI Light" panose="020B0502040204020203" pitchFamily="34" charset="0"/>
              </a:rPr>
              <a:t> </a:t>
            </a:r>
            <a:endParaRPr kumimoji="0" lang="en-US"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7" name="Rectangle 36"/>
          <p:cNvSpPr/>
          <p:nvPr/>
        </p:nvSpPr>
        <p:spPr>
          <a:xfrm>
            <a:off x="1433419" y="2813745"/>
            <a:ext cx="7943713" cy="461665"/>
          </a:xfrm>
          <a:prstGeom prst="rect">
            <a:avLst/>
          </a:prstGeom>
        </p:spPr>
        <p:txBody>
          <a:bodyPr wrap="none">
            <a:spAutoFit/>
          </a:bodyPr>
          <a:lstStyle/>
          <a:p>
            <a:pPr lvl="0" defTabSz="932472" fontAlgn="base">
              <a:spcBef>
                <a:spcPct val="0"/>
              </a:spcBef>
              <a:spcAft>
                <a:spcPct val="0"/>
              </a:spcAf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rPr>
              <a:t>Sign up for</a:t>
            </a:r>
            <a:r>
              <a:rPr kumimoji="0" lang="en-US" sz="2400" b="0" i="0" u="none" strike="noStrike" kern="1200" cap="none" spc="0" normalizeH="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rPr>
              <a:t> an Azure Free Trial: </a:t>
            </a:r>
            <a:r>
              <a:rPr lang="en-GB" sz="2400" dirty="0">
                <a:solidFill>
                  <a:srgbClr val="FFFFFF"/>
                </a:solidFill>
                <a:latin typeface="Segoe UI Light" panose="020B0502040204020203" pitchFamily="34" charset="0"/>
                <a:ea typeface="Segoe UI" pitchFamily="34" charset="0"/>
                <a:cs typeface="Segoe UI Light" panose="020B0502040204020203" pitchFamily="34" charset="0"/>
                <a:hlinkClick r:id="rId6"/>
              </a:rPr>
              <a:t>https://azure.microsoft.com/</a:t>
            </a:r>
            <a:r>
              <a:rPr lang="en-GB" sz="2400" dirty="0">
                <a:solidFill>
                  <a:srgbClr val="FFFFFF"/>
                </a:solidFill>
                <a:latin typeface="Segoe UI Light" panose="020B0502040204020203" pitchFamily="34" charset="0"/>
                <a:ea typeface="Segoe UI" pitchFamily="34" charset="0"/>
                <a:cs typeface="Segoe UI Light" panose="020B0502040204020203" pitchFamily="34" charset="0"/>
              </a:rPr>
              <a:t> </a:t>
            </a:r>
            <a:endPar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8" name="Rectangle 37"/>
          <p:cNvSpPr/>
          <p:nvPr/>
        </p:nvSpPr>
        <p:spPr>
          <a:xfrm>
            <a:off x="1420850" y="5137510"/>
            <a:ext cx="9361828" cy="830997"/>
          </a:xfrm>
          <a:prstGeom prst="rect">
            <a:avLst/>
          </a:prstGeom>
        </p:spPr>
        <p:txBody>
          <a:bodyPr wrap="square">
            <a:spAutoFit/>
          </a:bodyPr>
          <a:lstStyle/>
          <a:p>
            <a:pPr lvl="0" defTabSz="932472" fontAlgn="base">
              <a:spcBef>
                <a:spcPct val="0"/>
              </a:spcBef>
              <a:spcAft>
                <a:spcPct val="0"/>
              </a:spcAft>
              <a:defRPr/>
            </a:pPr>
            <a:r>
              <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rPr>
              <a:t>Investigate the Cortana Analytics Suite</a:t>
            </a:r>
            <a:r>
              <a:rPr lang="en-US" sz="2400" dirty="0">
                <a:solidFill>
                  <a:srgbClr val="FFFFFF"/>
                </a:solidFill>
                <a:latin typeface="Segoe UI Light" panose="020B0502040204020203" pitchFamily="34" charset="0"/>
                <a:ea typeface="Segoe UI" pitchFamily="34" charset="0"/>
                <a:cs typeface="Segoe UI Light" panose="020B0502040204020203" pitchFamily="34" charset="0"/>
              </a:rPr>
              <a:t>: </a:t>
            </a:r>
            <a:r>
              <a:rPr lang="en-US" sz="2400" dirty="0">
                <a:solidFill>
                  <a:srgbClr val="FFFFFF"/>
                </a:solidFill>
                <a:latin typeface="Segoe UI Light" panose="020B0502040204020203" pitchFamily="34" charset="0"/>
                <a:ea typeface="Segoe UI" pitchFamily="34" charset="0"/>
                <a:cs typeface="Segoe UI Light" panose="020B0502040204020203" pitchFamily="34" charset="0"/>
                <a:hlinkClick r:id="rId7"/>
              </a:rPr>
              <a:t>https://www.microsoft.com/en-gb/server-cloud/cortana-analytics-suite/overview.aspx</a:t>
            </a:r>
            <a:r>
              <a:rPr lang="en-US" sz="2400" dirty="0">
                <a:solidFill>
                  <a:srgbClr val="FFFFFF"/>
                </a:solidFill>
                <a:latin typeface="Segoe UI Light" panose="020B0502040204020203" pitchFamily="34" charset="0"/>
                <a:ea typeface="Segoe UI" pitchFamily="34" charset="0"/>
                <a:cs typeface="Segoe UI Light" panose="020B0502040204020203" pitchFamily="34" charset="0"/>
              </a:rPr>
              <a:t> </a:t>
            </a:r>
            <a:endParaRPr kumimoji="0" lang="en-US" sz="2400"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endParaRPr>
          </a:p>
        </p:txBody>
      </p:sp>
      <p:grpSp>
        <p:nvGrpSpPr>
          <p:cNvPr id="11" name="Group 10"/>
          <p:cNvGrpSpPr>
            <a:grpSpLocks noChangeAspect="1"/>
          </p:cNvGrpSpPr>
          <p:nvPr/>
        </p:nvGrpSpPr>
        <p:grpSpPr>
          <a:xfrm>
            <a:off x="431232" y="2711879"/>
            <a:ext cx="900000" cy="1163075"/>
            <a:chOff x="8856125" y="1067127"/>
            <a:chExt cx="528555" cy="752153"/>
          </a:xfrm>
        </p:grpSpPr>
        <p:sp>
          <p:nvSpPr>
            <p:cNvPr id="12"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 name="Group 13"/>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1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grpSp>
        <p:nvGrpSpPr>
          <p:cNvPr id="23" name="Group 22"/>
          <p:cNvGrpSpPr>
            <a:grpSpLocks noChangeAspect="1"/>
          </p:cNvGrpSpPr>
          <p:nvPr/>
        </p:nvGrpSpPr>
        <p:grpSpPr>
          <a:xfrm>
            <a:off x="431232" y="3928682"/>
            <a:ext cx="900000" cy="1163075"/>
            <a:chOff x="8856125" y="1067127"/>
            <a:chExt cx="528555" cy="752153"/>
          </a:xfrm>
        </p:grpSpPr>
        <p:sp>
          <p:nvSpPr>
            <p:cNvPr id="24"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5" name="Group 24"/>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26"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7"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8"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0"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grpSp>
        <p:nvGrpSpPr>
          <p:cNvPr id="40" name="Group 39"/>
          <p:cNvGrpSpPr>
            <a:grpSpLocks noChangeAspect="1"/>
          </p:cNvGrpSpPr>
          <p:nvPr/>
        </p:nvGrpSpPr>
        <p:grpSpPr>
          <a:xfrm>
            <a:off x="431232" y="5163673"/>
            <a:ext cx="900000" cy="1163075"/>
            <a:chOff x="8856125" y="1067127"/>
            <a:chExt cx="528555" cy="752153"/>
          </a:xfrm>
        </p:grpSpPr>
        <p:sp>
          <p:nvSpPr>
            <p:cNvPr id="41"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 name="Group 41"/>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4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781312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9045" y="245803"/>
            <a:ext cx="11216461" cy="2387600"/>
          </a:xfrm>
        </p:spPr>
        <p:txBody>
          <a:bodyPr anchor="t">
            <a:noAutofit/>
          </a:bodyPr>
          <a:lstStyle/>
          <a:p>
            <a:pPr>
              <a:lnSpc>
                <a:spcPct val="100000"/>
              </a:lnSpc>
            </a:pPr>
            <a:r>
              <a:rPr lang="en-GB" sz="7200" dirty="0">
                <a:solidFill>
                  <a:schemeClr val="bg1">
                    <a:lumMod val="95000"/>
                  </a:schemeClr>
                </a:solidFill>
                <a:latin typeface="Segoe UI Light" panose="020B0502040204020203" pitchFamily="34" charset="0"/>
                <a:cs typeface="Segoe UI Light" panose="020B0502040204020203" pitchFamily="34" charset="0"/>
              </a:rPr>
              <a:t>Thanks for listening</a:t>
            </a:r>
            <a:br>
              <a:rPr lang="en-GB" sz="4800" dirty="0">
                <a:solidFill>
                  <a:schemeClr val="bg1">
                    <a:lumMod val="95000"/>
                  </a:schemeClr>
                </a:solidFill>
                <a:latin typeface="Segoe UI Light" panose="020B0502040204020203" pitchFamily="34" charset="0"/>
                <a:cs typeface="Segoe UI Light" panose="020B0502040204020203" pitchFamily="34" charset="0"/>
              </a:rPr>
            </a:br>
            <a:endParaRPr lang="en-GB" sz="7200" dirty="0">
              <a:solidFill>
                <a:schemeClr val="bg1">
                  <a:lumMod val="95000"/>
                </a:schemeClr>
              </a:solidFill>
              <a:latin typeface="Segoe UI Light" panose="020B0502040204020203" pitchFamily="34" charset="0"/>
              <a:cs typeface="Segoe UI Light" panose="020B0502040204020203" pitchFamily="34" charset="0"/>
            </a:endParaRPr>
          </a:p>
        </p:txBody>
      </p:sp>
      <p:sp>
        <p:nvSpPr>
          <p:cNvPr id="13" name="TextBox 12"/>
          <p:cNvSpPr txBox="1"/>
          <p:nvPr/>
        </p:nvSpPr>
        <p:spPr>
          <a:xfrm>
            <a:off x="495507" y="1881757"/>
            <a:ext cx="6889072" cy="7386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3200" b="0" i="0" u="none" strike="noStrike" kern="0" cap="none" spc="0" normalizeH="0" baseline="0" noProof="0" dirty="0">
                <a:ln>
                  <a:noFill/>
                </a:ln>
                <a:solidFill>
                  <a:schemeClr val="bg1"/>
                </a:solidFill>
                <a:effectLst/>
                <a:uLnTx/>
                <a:uFillTx/>
                <a:latin typeface="+mj-lt"/>
              </a:rPr>
              <a:t>If you want to know more …</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942" y="2785695"/>
            <a:ext cx="3548231" cy="3548231"/>
          </a:xfrm>
          <a:prstGeom prst="rect">
            <a:avLst/>
          </a:prstGeom>
        </p:spPr>
      </p:pic>
      <p:grpSp>
        <p:nvGrpSpPr>
          <p:cNvPr id="6" name="Group 5"/>
          <p:cNvGrpSpPr/>
          <p:nvPr/>
        </p:nvGrpSpPr>
        <p:grpSpPr>
          <a:xfrm>
            <a:off x="4755293" y="2806330"/>
            <a:ext cx="5122760" cy="2396048"/>
            <a:chOff x="3115307" y="2920560"/>
            <a:chExt cx="5122760" cy="2396048"/>
          </a:xfrm>
        </p:grpSpPr>
        <p:pic>
          <p:nvPicPr>
            <p:cNvPr id="30" name="Picture 2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115307" y="2920560"/>
              <a:ext cx="720132" cy="720132"/>
            </a:xfrm>
            <a:prstGeom prst="rect">
              <a:avLst/>
            </a:prstGeom>
          </p:spPr>
        </p:pic>
        <p:pic>
          <p:nvPicPr>
            <p:cNvPr id="31" name="Picture 3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115307" y="3758584"/>
              <a:ext cx="720132" cy="720132"/>
            </a:xfrm>
            <a:prstGeom prst="rect">
              <a:avLst/>
            </a:prstGeom>
          </p:spPr>
        </p:pic>
        <p:sp>
          <p:nvSpPr>
            <p:cNvPr id="28" name="TextBox 27"/>
            <p:cNvSpPr txBox="1"/>
            <p:nvPr/>
          </p:nvSpPr>
          <p:spPr>
            <a:xfrm>
              <a:off x="3986164" y="3095960"/>
              <a:ext cx="368774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amynic@microsoft.com</a:t>
              </a:r>
            </a:p>
          </p:txBody>
        </p:sp>
        <p:sp>
          <p:nvSpPr>
            <p:cNvPr id="29" name="TextBox 28"/>
            <p:cNvSpPr txBox="1"/>
            <p:nvPr/>
          </p:nvSpPr>
          <p:spPr>
            <a:xfrm>
              <a:off x="3986163" y="3933984"/>
              <a:ext cx="368774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AmyKateNicho</a:t>
              </a:r>
            </a:p>
          </p:txBody>
        </p:sp>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15439" y="4596608"/>
              <a:ext cx="720000" cy="720000"/>
            </a:xfrm>
            <a:prstGeom prst="rect">
              <a:avLst/>
            </a:prstGeom>
          </p:spPr>
        </p:pic>
        <p:sp>
          <p:nvSpPr>
            <p:cNvPr id="14" name="TextBox 13"/>
            <p:cNvSpPr txBox="1"/>
            <p:nvPr/>
          </p:nvSpPr>
          <p:spPr>
            <a:xfrm>
              <a:off x="3986162" y="4751033"/>
              <a:ext cx="425190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www.linkedin.com/in/amykatenicho</a:t>
              </a:r>
            </a:p>
          </p:txBody>
        </p:sp>
      </p:gr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55293" y="5396880"/>
            <a:ext cx="720000" cy="720000"/>
          </a:xfrm>
          <a:prstGeom prst="rect">
            <a:avLst/>
          </a:prstGeom>
        </p:spPr>
      </p:pic>
      <p:sp>
        <p:nvSpPr>
          <p:cNvPr id="7" name="Rectangle 6"/>
          <p:cNvSpPr/>
          <p:nvPr/>
        </p:nvSpPr>
        <p:spPr>
          <a:xfrm>
            <a:off x="5626148" y="5549427"/>
            <a:ext cx="4805799" cy="414905"/>
          </a:xfrm>
          <a:prstGeom prst="rect">
            <a:avLst/>
          </a:prstGeom>
        </p:spPr>
        <p:txBody>
          <a:bodyPr wrap="square">
            <a:spAutoFit/>
          </a:bodyPr>
          <a:lstStyle/>
          <a:p>
            <a:r>
              <a:rPr lang="en-GB" sz="2000" kern="0" dirty="0">
                <a:solidFill>
                  <a:schemeClr val="bg1"/>
                </a:solidFill>
                <a:latin typeface="Segoe UI Light" panose="020B0502040204020203" pitchFamily="34" charset="0"/>
                <a:cs typeface="Segoe UI Light" panose="020B0502040204020203" pitchFamily="34" charset="0"/>
              </a:rPr>
              <a:t>http://blogs.technet.com/b/amykatenicho/</a:t>
            </a:r>
          </a:p>
        </p:txBody>
      </p:sp>
    </p:spTree>
    <p:extLst>
      <p:ext uri="{BB962C8B-B14F-4D97-AF65-F5344CB8AC3E}">
        <p14:creationId xmlns:p14="http://schemas.microsoft.com/office/powerpoint/2010/main" val="365165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12194712" cy="6858000"/>
          </a:xfrm>
        </p:spPr>
      </p:pic>
    </p:spTree>
    <p:extLst>
      <p:ext uri="{BB962C8B-B14F-4D97-AF65-F5344CB8AC3E}">
        <p14:creationId xmlns:p14="http://schemas.microsoft.com/office/powerpoint/2010/main" val="423835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12194712" cy="6858000"/>
          </a:xfrm>
        </p:spPr>
      </p:pic>
      <p:sp>
        <p:nvSpPr>
          <p:cNvPr id="3" name="Rounded Rectangle 2"/>
          <p:cNvSpPr/>
          <p:nvPr/>
        </p:nvSpPr>
        <p:spPr>
          <a:xfrm>
            <a:off x="5302805" y="2068498"/>
            <a:ext cx="1879230" cy="1118586"/>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ounded Rectangle 4"/>
          <p:cNvSpPr/>
          <p:nvPr/>
        </p:nvSpPr>
        <p:spPr>
          <a:xfrm>
            <a:off x="-1" y="3311371"/>
            <a:ext cx="2175029" cy="1741504"/>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ounded Rectangle 5"/>
          <p:cNvSpPr/>
          <p:nvPr/>
        </p:nvSpPr>
        <p:spPr>
          <a:xfrm>
            <a:off x="918716" y="5405021"/>
            <a:ext cx="1256312" cy="1120065"/>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ounded Rectangle 6"/>
          <p:cNvSpPr/>
          <p:nvPr/>
        </p:nvSpPr>
        <p:spPr>
          <a:xfrm>
            <a:off x="4674649" y="4182123"/>
            <a:ext cx="1256312" cy="1120065"/>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ounded Rectangle 7"/>
          <p:cNvSpPr/>
          <p:nvPr/>
        </p:nvSpPr>
        <p:spPr>
          <a:xfrm>
            <a:off x="272804" y="44390"/>
            <a:ext cx="1582628" cy="843379"/>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p:cNvSpPr/>
          <p:nvPr/>
        </p:nvSpPr>
        <p:spPr>
          <a:xfrm>
            <a:off x="11114842" y="596285"/>
            <a:ext cx="1079869" cy="843379"/>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ounded Rectangle 9"/>
          <p:cNvSpPr/>
          <p:nvPr/>
        </p:nvSpPr>
        <p:spPr>
          <a:xfrm>
            <a:off x="11345662" y="4051178"/>
            <a:ext cx="804659" cy="1479610"/>
          </a:xfrm>
          <a:prstGeom prst="roundRect">
            <a:avLst/>
          </a:prstGeom>
          <a:noFill/>
          <a:ln w="1143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ounded Rectangle 10"/>
          <p:cNvSpPr/>
          <p:nvPr/>
        </p:nvSpPr>
        <p:spPr>
          <a:xfrm>
            <a:off x="8035770" y="2894120"/>
            <a:ext cx="1845077" cy="1896863"/>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ounded Rectangle 11"/>
          <p:cNvSpPr/>
          <p:nvPr/>
        </p:nvSpPr>
        <p:spPr>
          <a:xfrm>
            <a:off x="127401" y="2467992"/>
            <a:ext cx="2901361" cy="967666"/>
          </a:xfrm>
          <a:prstGeom prst="roundRect">
            <a:avLst/>
          </a:prstGeom>
          <a:noFill/>
          <a:ln w="76200">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0933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childTnLst>
                    </p:cTn>
                  </p:par>
                  <p:par>
                    <p:cTn id="43" fill="hold">
                      <p:stCondLst>
                        <p:cond delay="indefinite"/>
                      </p:stCondLst>
                      <p:childTnLst>
                        <p:par>
                          <p:cTn id="44" fill="hold">
                            <p:stCondLst>
                              <p:cond delay="0"/>
                            </p:stCondLst>
                            <p:childTnLst>
                              <p:par>
                                <p:cTn id="45" presetID="21" presetClass="entr" presetSubtype="1"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wheel(1)">
                                      <p:cBhvr>
                                        <p:cTn id="4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8" grpId="0" animBg="1"/>
      <p:bldP spid="9" grpId="0" animBg="1"/>
      <p:bldP spid="10" grpId="0" animBg="1"/>
      <p:bldP spid="11"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ata evolution</a:t>
            </a:r>
          </a:p>
        </p:txBody>
      </p:sp>
      <p:grpSp>
        <p:nvGrpSpPr>
          <p:cNvPr id="3" name="Group 2"/>
          <p:cNvGrpSpPr/>
          <p:nvPr/>
        </p:nvGrpSpPr>
        <p:grpSpPr>
          <a:xfrm>
            <a:off x="476251" y="1232151"/>
            <a:ext cx="11254473" cy="4859704"/>
            <a:chOff x="774550" y="1256362"/>
            <a:chExt cx="11191399" cy="4832468"/>
          </a:xfrm>
        </p:grpSpPr>
        <p:sp>
          <p:nvSpPr>
            <p:cNvPr id="33" name="Rectangle 32"/>
            <p:cNvSpPr/>
            <p:nvPr/>
          </p:nvSpPr>
          <p:spPr bwMode="auto">
            <a:xfrm>
              <a:off x="774550" y="1426099"/>
              <a:ext cx="11097410" cy="4662731"/>
            </a:xfrm>
            <a:prstGeom prst="rect">
              <a:avLst/>
            </a:prstGeom>
            <a:solidFill>
              <a:schemeClr val="accent1">
                <a:lumMod val="50000"/>
                <a:alpha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41" name="Freeform 40"/>
            <p:cNvSpPr/>
            <p:nvPr/>
          </p:nvSpPr>
          <p:spPr bwMode="auto">
            <a:xfrm>
              <a:off x="774551" y="3108954"/>
              <a:ext cx="10998349" cy="2930560"/>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chemeClr val="tx1">
                  <a:alpha val="10000"/>
                </a:schemeClr>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764" kern="0" dirty="0">
                <a:solidFill>
                  <a:srgbClr val="FFFFFF"/>
                </a:solidFill>
              </a:endParaRPr>
            </a:p>
          </p:txBody>
        </p:sp>
        <p:sp>
          <p:nvSpPr>
            <p:cNvPr id="42" name="TextBox 41"/>
            <p:cNvSpPr txBox="1"/>
            <p:nvPr/>
          </p:nvSpPr>
          <p:spPr>
            <a:xfrm rot="20727045">
              <a:off x="2179199" y="5467188"/>
              <a:ext cx="1788618" cy="305841"/>
            </a:xfrm>
            <a:prstGeom prst="rect">
              <a:avLst/>
            </a:prstGeom>
            <a:noFill/>
          </p:spPr>
          <p:txBody>
            <a:bodyPr wrap="square" lIns="44821" tIns="44821" rIns="44821" bIns="44821" rtlCol="0">
              <a:spAutoFit/>
            </a:bodyPr>
            <a:lstStyle/>
            <a:p>
              <a:pPr defTabSz="896386">
                <a:lnSpc>
                  <a:spcPct val="90000"/>
                </a:lnSpc>
                <a:spcAft>
                  <a:spcPts val="588"/>
                </a:spcAft>
              </a:pPr>
              <a:r>
                <a:rPr lang="en-US" sz="1567" kern="0" dirty="0">
                  <a:gradFill>
                    <a:gsLst>
                      <a:gs pos="2917">
                        <a:schemeClr val="tx1">
                          <a:alpha val="10000"/>
                        </a:schemeClr>
                      </a:gs>
                      <a:gs pos="100000">
                        <a:schemeClr val="tx1">
                          <a:alpha val="10000"/>
                        </a:schemeClr>
                      </a:gs>
                    </a:gsLst>
                    <a:lin ang="5400000" scaled="0"/>
                  </a:gradFill>
                  <a:latin typeface="Segoe UI Semibold" panose="020B0702040204020203" pitchFamily="34" charset="0"/>
                  <a:cs typeface="Segoe UI Semibold" panose="020B0702040204020203" pitchFamily="34" charset="0"/>
                </a:rPr>
                <a:t>OPPORTUNITY $</a:t>
              </a:r>
              <a:endParaRPr lang="en-US" sz="1371" kern="0" dirty="0">
                <a:gradFill>
                  <a:gsLst>
                    <a:gs pos="2917">
                      <a:schemeClr val="tx1">
                        <a:alpha val="10000"/>
                      </a:schemeClr>
                    </a:gs>
                    <a:gs pos="100000">
                      <a:schemeClr val="tx1">
                        <a:alpha val="10000"/>
                      </a:schemeClr>
                    </a:gs>
                  </a:gsLst>
                  <a:lin ang="5400000" scaled="0"/>
                </a:gradFill>
                <a:latin typeface="Segoe UI Semibold" panose="020B0702040204020203" pitchFamily="34" charset="0"/>
                <a:cs typeface="Segoe UI Semibold" panose="020B0702040204020203" pitchFamily="34" charset="0"/>
              </a:endParaRPr>
            </a:p>
          </p:txBody>
        </p:sp>
        <p:grpSp>
          <p:nvGrpSpPr>
            <p:cNvPr id="44" name="Group 43"/>
            <p:cNvGrpSpPr/>
            <p:nvPr/>
          </p:nvGrpSpPr>
          <p:grpSpPr>
            <a:xfrm>
              <a:off x="1283713" y="4928584"/>
              <a:ext cx="2177809" cy="415847"/>
              <a:chOff x="1844842" y="5033359"/>
              <a:chExt cx="2177809" cy="415847"/>
            </a:xfrm>
          </p:grpSpPr>
          <p:sp>
            <p:nvSpPr>
              <p:cNvPr id="45" name="TextBox 44"/>
              <p:cNvSpPr txBox="1"/>
              <p:nvPr/>
            </p:nvSpPr>
            <p:spPr>
              <a:xfrm>
                <a:off x="2209086" y="5033359"/>
                <a:ext cx="1813565" cy="415847"/>
              </a:xfrm>
              <a:prstGeom prst="rect">
                <a:avLst/>
              </a:prstGeom>
              <a:noFill/>
            </p:spPr>
            <p:txBody>
              <a:bodyPr wrap="squar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Timely info</a:t>
                </a:r>
              </a:p>
            </p:txBody>
          </p:sp>
          <p:sp>
            <p:nvSpPr>
              <p:cNvPr id="46" name="Freeform 22"/>
              <p:cNvSpPr>
                <a:spLocks noEditPoints="1"/>
              </p:cNvSpPr>
              <p:nvPr/>
            </p:nvSpPr>
            <p:spPr bwMode="auto">
              <a:xfrm>
                <a:off x="1844842" y="5078972"/>
                <a:ext cx="338524" cy="340175"/>
              </a:xfrm>
              <a:custGeom>
                <a:avLst/>
                <a:gdLst>
                  <a:gd name="T0" fmla="*/ 62 w 87"/>
                  <a:gd name="T1" fmla="*/ 48 h 87"/>
                  <a:gd name="T2" fmla="*/ 67 w 87"/>
                  <a:gd name="T3" fmla="*/ 43 h 87"/>
                  <a:gd name="T4" fmla="*/ 62 w 87"/>
                  <a:gd name="T5" fmla="*/ 38 h 87"/>
                  <a:gd name="T6" fmla="*/ 48 w 87"/>
                  <a:gd name="T7" fmla="*/ 38 h 87"/>
                  <a:gd name="T8" fmla="*/ 48 w 87"/>
                  <a:gd name="T9" fmla="*/ 21 h 87"/>
                  <a:gd name="T10" fmla="*/ 43 w 87"/>
                  <a:gd name="T11" fmla="*/ 16 h 87"/>
                  <a:gd name="T12" fmla="*/ 39 w 87"/>
                  <a:gd name="T13" fmla="*/ 21 h 87"/>
                  <a:gd name="T14" fmla="*/ 39 w 87"/>
                  <a:gd name="T15" fmla="*/ 43 h 87"/>
                  <a:gd name="T16" fmla="*/ 43 w 87"/>
                  <a:gd name="T17" fmla="*/ 48 h 87"/>
                  <a:gd name="T18" fmla="*/ 62 w 87"/>
                  <a:gd name="T19" fmla="*/ 48 h 87"/>
                  <a:gd name="T20" fmla="*/ 43 w 87"/>
                  <a:gd name="T21" fmla="*/ 9 h 87"/>
                  <a:gd name="T22" fmla="*/ 77 w 87"/>
                  <a:gd name="T23" fmla="*/ 43 h 87"/>
                  <a:gd name="T24" fmla="*/ 43 w 87"/>
                  <a:gd name="T25" fmla="*/ 77 h 87"/>
                  <a:gd name="T26" fmla="*/ 9 w 87"/>
                  <a:gd name="T27" fmla="*/ 43 h 87"/>
                  <a:gd name="T28" fmla="*/ 43 w 87"/>
                  <a:gd name="T29" fmla="*/ 9 h 87"/>
                  <a:gd name="T30" fmla="*/ 43 w 87"/>
                  <a:gd name="T31" fmla="*/ 87 h 87"/>
                  <a:gd name="T32" fmla="*/ 87 w 87"/>
                  <a:gd name="T33" fmla="*/ 43 h 87"/>
                  <a:gd name="T34" fmla="*/ 43 w 87"/>
                  <a:gd name="T35" fmla="*/ 0 h 87"/>
                  <a:gd name="T36" fmla="*/ 0 w 87"/>
                  <a:gd name="T37" fmla="*/ 43 h 87"/>
                  <a:gd name="T38" fmla="*/ 43 w 87"/>
                  <a:gd name="T3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87">
                    <a:moveTo>
                      <a:pt x="62" y="48"/>
                    </a:moveTo>
                    <a:cubicBezTo>
                      <a:pt x="65" y="48"/>
                      <a:pt x="67" y="46"/>
                      <a:pt x="67" y="43"/>
                    </a:cubicBezTo>
                    <a:cubicBezTo>
                      <a:pt x="67" y="41"/>
                      <a:pt x="65" y="38"/>
                      <a:pt x="62" y="38"/>
                    </a:cubicBezTo>
                    <a:cubicBezTo>
                      <a:pt x="48" y="38"/>
                      <a:pt x="48" y="38"/>
                      <a:pt x="48" y="38"/>
                    </a:cubicBezTo>
                    <a:cubicBezTo>
                      <a:pt x="48" y="21"/>
                      <a:pt x="48" y="21"/>
                      <a:pt x="48" y="21"/>
                    </a:cubicBezTo>
                    <a:cubicBezTo>
                      <a:pt x="48" y="18"/>
                      <a:pt x="46" y="16"/>
                      <a:pt x="43" y="16"/>
                    </a:cubicBezTo>
                    <a:cubicBezTo>
                      <a:pt x="41" y="16"/>
                      <a:pt x="39" y="18"/>
                      <a:pt x="39" y="21"/>
                    </a:cubicBezTo>
                    <a:cubicBezTo>
                      <a:pt x="39" y="43"/>
                      <a:pt x="39" y="43"/>
                      <a:pt x="39" y="43"/>
                    </a:cubicBezTo>
                    <a:cubicBezTo>
                      <a:pt x="39" y="46"/>
                      <a:pt x="41" y="48"/>
                      <a:pt x="43" y="48"/>
                    </a:cubicBezTo>
                    <a:lnTo>
                      <a:pt x="62" y="48"/>
                    </a:lnTo>
                    <a:close/>
                    <a:moveTo>
                      <a:pt x="43" y="9"/>
                    </a:moveTo>
                    <a:cubicBezTo>
                      <a:pt x="62" y="9"/>
                      <a:pt x="77" y="24"/>
                      <a:pt x="77" y="43"/>
                    </a:cubicBezTo>
                    <a:cubicBezTo>
                      <a:pt x="77" y="62"/>
                      <a:pt x="62" y="77"/>
                      <a:pt x="43" y="77"/>
                    </a:cubicBezTo>
                    <a:cubicBezTo>
                      <a:pt x="25" y="77"/>
                      <a:pt x="9" y="62"/>
                      <a:pt x="9" y="43"/>
                    </a:cubicBezTo>
                    <a:cubicBezTo>
                      <a:pt x="9" y="24"/>
                      <a:pt x="25" y="9"/>
                      <a:pt x="43" y="9"/>
                    </a:cubicBezTo>
                    <a:moveTo>
                      <a:pt x="43" y="87"/>
                    </a:moveTo>
                    <a:cubicBezTo>
                      <a:pt x="67" y="87"/>
                      <a:pt x="87" y="67"/>
                      <a:pt x="87" y="43"/>
                    </a:cubicBezTo>
                    <a:cubicBezTo>
                      <a:pt x="87" y="19"/>
                      <a:pt x="67" y="0"/>
                      <a:pt x="43" y="0"/>
                    </a:cubicBezTo>
                    <a:cubicBezTo>
                      <a:pt x="19" y="0"/>
                      <a:pt x="0" y="19"/>
                      <a:pt x="0" y="43"/>
                    </a:cubicBezTo>
                    <a:cubicBezTo>
                      <a:pt x="0" y="67"/>
                      <a:pt x="19" y="87"/>
                      <a:pt x="43" y="87"/>
                    </a:cubicBezTo>
                  </a:path>
                </a:pathLst>
              </a:custGeom>
              <a:solidFill>
                <a:schemeClr val="tx2">
                  <a:lumMod val="50000"/>
                </a:schemeClr>
              </a:solidFill>
              <a:ln>
                <a:noFill/>
              </a:ln>
              <a:extLst/>
            </p:spPr>
            <p:txBody>
              <a:bodyPr vert="horz" wrap="square" lIns="93247" tIns="46623" rIns="93247" bIns="46623" numCol="1" anchor="t" anchorCtr="0" compatLnSpc="1">
                <a:prstTxWarp prst="textNoShape">
                  <a:avLst/>
                </a:prstTxWarp>
              </a:bodyPr>
              <a:lstStyle/>
              <a:p>
                <a:pPr defTabSz="932380"/>
                <a:endParaRPr lang="en-US" sz="1836" kern="0" dirty="0">
                  <a:solidFill>
                    <a:srgbClr val="FFFFFF"/>
                  </a:solidFill>
                </a:endParaRPr>
              </a:p>
            </p:txBody>
          </p:sp>
        </p:grpSp>
        <p:grpSp>
          <p:nvGrpSpPr>
            <p:cNvPr id="47" name="Group 46"/>
            <p:cNvGrpSpPr/>
            <p:nvPr/>
          </p:nvGrpSpPr>
          <p:grpSpPr>
            <a:xfrm>
              <a:off x="5448651" y="4926151"/>
              <a:ext cx="1813213" cy="421697"/>
              <a:chOff x="5584395" y="5030926"/>
              <a:chExt cx="1813213" cy="421697"/>
            </a:xfrm>
          </p:grpSpPr>
          <p:sp>
            <p:nvSpPr>
              <p:cNvPr id="48" name="TextBox 47"/>
              <p:cNvSpPr txBox="1"/>
              <p:nvPr/>
            </p:nvSpPr>
            <p:spPr>
              <a:xfrm>
                <a:off x="6058312" y="5030926"/>
                <a:ext cx="1339296" cy="415847"/>
              </a:xfrm>
              <a:prstGeom prst="rect">
                <a:avLst/>
              </a:prstGeom>
              <a:noFill/>
            </p:spPr>
            <p:txBody>
              <a:bodyPr wrap="non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Accurate</a:t>
                </a:r>
              </a:p>
            </p:txBody>
          </p:sp>
          <p:sp>
            <p:nvSpPr>
              <p:cNvPr id="49" name="Freeform 22"/>
              <p:cNvSpPr>
                <a:spLocks noChangeAspect="1" noEditPoints="1"/>
              </p:cNvSpPr>
              <p:nvPr/>
            </p:nvSpPr>
            <p:spPr bwMode="black">
              <a:xfrm>
                <a:off x="5584395" y="5033961"/>
                <a:ext cx="418662" cy="418662"/>
              </a:xfrm>
              <a:custGeom>
                <a:avLst/>
                <a:gdLst>
                  <a:gd name="T0" fmla="*/ 637313 w 300"/>
                  <a:gd name="T1" fmla="*/ 299459 h 300"/>
                  <a:gd name="T2" fmla="*/ 605447 w 300"/>
                  <a:gd name="T3" fmla="*/ 299459 h 300"/>
                  <a:gd name="T4" fmla="*/ 337776 w 300"/>
                  <a:gd name="T5" fmla="*/ 31857 h 300"/>
                  <a:gd name="T6" fmla="*/ 337776 w 300"/>
                  <a:gd name="T7" fmla="*/ 0 h 300"/>
                  <a:gd name="T8" fmla="*/ 299537 w 300"/>
                  <a:gd name="T9" fmla="*/ 0 h 300"/>
                  <a:gd name="T10" fmla="*/ 299537 w 300"/>
                  <a:gd name="T11" fmla="*/ 31857 h 300"/>
                  <a:gd name="T12" fmla="*/ 31866 w 300"/>
                  <a:gd name="T13" fmla="*/ 299459 h 300"/>
                  <a:gd name="T14" fmla="*/ 0 w 300"/>
                  <a:gd name="T15" fmla="*/ 299459 h 300"/>
                  <a:gd name="T16" fmla="*/ 0 w 300"/>
                  <a:gd name="T17" fmla="*/ 337687 h 300"/>
                  <a:gd name="T18" fmla="*/ 31866 w 300"/>
                  <a:gd name="T19" fmla="*/ 337687 h 300"/>
                  <a:gd name="T20" fmla="*/ 299537 w 300"/>
                  <a:gd name="T21" fmla="*/ 605289 h 300"/>
                  <a:gd name="T22" fmla="*/ 299537 w 300"/>
                  <a:gd name="T23" fmla="*/ 637146 h 300"/>
                  <a:gd name="T24" fmla="*/ 337776 w 300"/>
                  <a:gd name="T25" fmla="*/ 637146 h 300"/>
                  <a:gd name="T26" fmla="*/ 337776 w 300"/>
                  <a:gd name="T27" fmla="*/ 605289 h 300"/>
                  <a:gd name="T28" fmla="*/ 605447 w 300"/>
                  <a:gd name="T29" fmla="*/ 337687 h 300"/>
                  <a:gd name="T30" fmla="*/ 637313 w 300"/>
                  <a:gd name="T31" fmla="*/ 337687 h 300"/>
                  <a:gd name="T32" fmla="*/ 637313 w 300"/>
                  <a:gd name="T33" fmla="*/ 299459 h 300"/>
                  <a:gd name="T34" fmla="*/ 548089 w 300"/>
                  <a:gd name="T35" fmla="*/ 299459 h 300"/>
                  <a:gd name="T36" fmla="*/ 488607 w 300"/>
                  <a:gd name="T37" fmla="*/ 299459 h 300"/>
                  <a:gd name="T38" fmla="*/ 337776 w 300"/>
                  <a:gd name="T39" fmla="*/ 148667 h 300"/>
                  <a:gd name="T40" fmla="*/ 337776 w 300"/>
                  <a:gd name="T41" fmla="*/ 89200 h 300"/>
                  <a:gd name="T42" fmla="*/ 548089 w 300"/>
                  <a:gd name="T43" fmla="*/ 299459 h 300"/>
                  <a:gd name="T44" fmla="*/ 299537 w 300"/>
                  <a:gd name="T45" fmla="*/ 265477 h 300"/>
                  <a:gd name="T46" fmla="*/ 265547 w 300"/>
                  <a:gd name="T47" fmla="*/ 299459 h 300"/>
                  <a:gd name="T48" fmla="*/ 206065 w 300"/>
                  <a:gd name="T49" fmla="*/ 299459 h 300"/>
                  <a:gd name="T50" fmla="*/ 299537 w 300"/>
                  <a:gd name="T51" fmla="*/ 206011 h 300"/>
                  <a:gd name="T52" fmla="*/ 299537 w 300"/>
                  <a:gd name="T53" fmla="*/ 265477 h 300"/>
                  <a:gd name="T54" fmla="*/ 265547 w 300"/>
                  <a:gd name="T55" fmla="*/ 337687 h 300"/>
                  <a:gd name="T56" fmla="*/ 299537 w 300"/>
                  <a:gd name="T57" fmla="*/ 371668 h 300"/>
                  <a:gd name="T58" fmla="*/ 299537 w 300"/>
                  <a:gd name="T59" fmla="*/ 431135 h 300"/>
                  <a:gd name="T60" fmla="*/ 206065 w 300"/>
                  <a:gd name="T61" fmla="*/ 337687 h 300"/>
                  <a:gd name="T62" fmla="*/ 265547 w 300"/>
                  <a:gd name="T63" fmla="*/ 337687 h 300"/>
                  <a:gd name="T64" fmla="*/ 337776 w 300"/>
                  <a:gd name="T65" fmla="*/ 371668 h 300"/>
                  <a:gd name="T66" fmla="*/ 371766 w 300"/>
                  <a:gd name="T67" fmla="*/ 337687 h 300"/>
                  <a:gd name="T68" fmla="*/ 431248 w 300"/>
                  <a:gd name="T69" fmla="*/ 337687 h 300"/>
                  <a:gd name="T70" fmla="*/ 337776 w 300"/>
                  <a:gd name="T71" fmla="*/ 431135 h 300"/>
                  <a:gd name="T72" fmla="*/ 337776 w 300"/>
                  <a:gd name="T73" fmla="*/ 371668 h 300"/>
                  <a:gd name="T74" fmla="*/ 371766 w 300"/>
                  <a:gd name="T75" fmla="*/ 299459 h 300"/>
                  <a:gd name="T76" fmla="*/ 337776 w 300"/>
                  <a:gd name="T77" fmla="*/ 265477 h 300"/>
                  <a:gd name="T78" fmla="*/ 337776 w 300"/>
                  <a:gd name="T79" fmla="*/ 206011 h 300"/>
                  <a:gd name="T80" fmla="*/ 431248 w 300"/>
                  <a:gd name="T81" fmla="*/ 299459 h 300"/>
                  <a:gd name="T82" fmla="*/ 371766 w 300"/>
                  <a:gd name="T83" fmla="*/ 299459 h 300"/>
                  <a:gd name="T84" fmla="*/ 299537 w 300"/>
                  <a:gd name="T85" fmla="*/ 89200 h 300"/>
                  <a:gd name="T86" fmla="*/ 299537 w 300"/>
                  <a:gd name="T87" fmla="*/ 148667 h 300"/>
                  <a:gd name="T88" fmla="*/ 148706 w 300"/>
                  <a:gd name="T89" fmla="*/ 299459 h 300"/>
                  <a:gd name="T90" fmla="*/ 89224 w 300"/>
                  <a:gd name="T91" fmla="*/ 299459 h 300"/>
                  <a:gd name="T92" fmla="*/ 299537 w 300"/>
                  <a:gd name="T93" fmla="*/ 89200 h 300"/>
                  <a:gd name="T94" fmla="*/ 89224 w 300"/>
                  <a:gd name="T95" fmla="*/ 337687 h 300"/>
                  <a:gd name="T96" fmla="*/ 148706 w 300"/>
                  <a:gd name="T97" fmla="*/ 337687 h 300"/>
                  <a:gd name="T98" fmla="*/ 299537 w 300"/>
                  <a:gd name="T99" fmla="*/ 488479 h 300"/>
                  <a:gd name="T100" fmla="*/ 299537 w 300"/>
                  <a:gd name="T101" fmla="*/ 547946 h 300"/>
                  <a:gd name="T102" fmla="*/ 89224 w 300"/>
                  <a:gd name="T103" fmla="*/ 337687 h 300"/>
                  <a:gd name="T104" fmla="*/ 337776 w 300"/>
                  <a:gd name="T105" fmla="*/ 547946 h 300"/>
                  <a:gd name="T106" fmla="*/ 337776 w 300"/>
                  <a:gd name="T107" fmla="*/ 488479 h 300"/>
                  <a:gd name="T108" fmla="*/ 488607 w 300"/>
                  <a:gd name="T109" fmla="*/ 337687 h 300"/>
                  <a:gd name="T110" fmla="*/ 548089 w 300"/>
                  <a:gd name="T111" fmla="*/ 337687 h 300"/>
                  <a:gd name="T112" fmla="*/ 337776 w 300"/>
                  <a:gd name="T113" fmla="*/ 547946 h 3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300"/>
                  <a:gd name="T173" fmla="*/ 300 w 300"/>
                  <a:gd name="T174" fmla="*/ 300 h 3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tx2">
                  <a:lumMod val="50000"/>
                </a:schemeClr>
              </a:solidFill>
              <a:ln>
                <a:noFill/>
              </a:ln>
              <a:extLst/>
            </p:spPr>
            <p:txBody>
              <a:bodyPr lIns="83931" tIns="41966" rIns="83931" bIns="41966"/>
              <a:lstStyle/>
              <a:p>
                <a:pPr defTabSz="932380"/>
                <a:endParaRPr lang="en-US" sz="1836" kern="0" dirty="0">
                  <a:solidFill>
                    <a:srgbClr val="FFFFFF"/>
                  </a:solidFill>
                </a:endParaRPr>
              </a:p>
            </p:txBody>
          </p:sp>
        </p:grpSp>
        <p:grpSp>
          <p:nvGrpSpPr>
            <p:cNvPr id="50" name="Group 49"/>
            <p:cNvGrpSpPr/>
            <p:nvPr/>
          </p:nvGrpSpPr>
          <p:grpSpPr>
            <a:xfrm>
              <a:off x="9346320" y="4926151"/>
              <a:ext cx="1951794" cy="415847"/>
              <a:chOff x="8819352" y="5030926"/>
              <a:chExt cx="1951794" cy="415847"/>
            </a:xfrm>
          </p:grpSpPr>
          <p:sp>
            <p:nvSpPr>
              <p:cNvPr id="51" name="TextBox 50"/>
              <p:cNvSpPr txBox="1"/>
              <p:nvPr/>
            </p:nvSpPr>
            <p:spPr>
              <a:xfrm>
                <a:off x="9125799" y="5030926"/>
                <a:ext cx="1645347" cy="415847"/>
              </a:xfrm>
              <a:prstGeom prst="rect">
                <a:avLst/>
              </a:prstGeom>
              <a:noFill/>
            </p:spPr>
            <p:txBody>
              <a:bodyPr wrap="non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Thoughtful</a:t>
                </a:r>
              </a:p>
            </p:txBody>
          </p:sp>
          <p:sp>
            <p:nvSpPr>
              <p:cNvPr id="52" name="Freeform 78"/>
              <p:cNvSpPr>
                <a:spLocks noEditPoints="1"/>
              </p:cNvSpPr>
              <p:nvPr/>
            </p:nvSpPr>
            <p:spPr bwMode="auto">
              <a:xfrm>
                <a:off x="8819352" y="5053420"/>
                <a:ext cx="280727" cy="386412"/>
              </a:xfrm>
              <a:custGeom>
                <a:avLst/>
                <a:gdLst>
                  <a:gd name="T0" fmla="*/ 36 w 72"/>
                  <a:gd name="T1" fmla="*/ 31 h 99"/>
                  <a:gd name="T2" fmla="*/ 15 w 72"/>
                  <a:gd name="T3" fmla="*/ 53 h 99"/>
                  <a:gd name="T4" fmla="*/ 25 w 72"/>
                  <a:gd name="T5" fmla="*/ 74 h 99"/>
                  <a:gd name="T6" fmla="*/ 24 w 72"/>
                  <a:gd name="T7" fmla="*/ 74 h 99"/>
                  <a:gd name="T8" fmla="*/ 12 w 72"/>
                  <a:gd name="T9" fmla="*/ 53 h 99"/>
                  <a:gd name="T10" fmla="*/ 36 w 72"/>
                  <a:gd name="T11" fmla="*/ 29 h 99"/>
                  <a:gd name="T12" fmla="*/ 60 w 72"/>
                  <a:gd name="T13" fmla="*/ 53 h 99"/>
                  <a:gd name="T14" fmla="*/ 48 w 72"/>
                  <a:gd name="T15" fmla="*/ 74 h 99"/>
                  <a:gd name="T16" fmla="*/ 48 w 72"/>
                  <a:gd name="T17" fmla="*/ 74 h 99"/>
                  <a:gd name="T18" fmla="*/ 25 w 72"/>
                  <a:gd name="T19" fmla="*/ 74 h 99"/>
                  <a:gd name="T20" fmla="*/ 36 w 72"/>
                  <a:gd name="T21" fmla="*/ 99 h 99"/>
                  <a:gd name="T22" fmla="*/ 30 w 72"/>
                  <a:gd name="T23" fmla="*/ 96 h 99"/>
                  <a:gd name="T24" fmla="*/ 42 w 72"/>
                  <a:gd name="T25" fmla="*/ 96 h 99"/>
                  <a:gd name="T26" fmla="*/ 36 w 72"/>
                  <a:gd name="T27" fmla="*/ 99 h 99"/>
                  <a:gd name="T28" fmla="*/ 48 w 72"/>
                  <a:gd name="T29" fmla="*/ 90 h 99"/>
                  <a:gd name="T30" fmla="*/ 45 w 72"/>
                  <a:gd name="T31" fmla="*/ 93 h 99"/>
                  <a:gd name="T32" fmla="*/ 28 w 72"/>
                  <a:gd name="T33" fmla="*/ 93 h 99"/>
                  <a:gd name="T34" fmla="*/ 25 w 72"/>
                  <a:gd name="T35" fmla="*/ 90 h 99"/>
                  <a:gd name="T36" fmla="*/ 28 w 72"/>
                  <a:gd name="T37" fmla="*/ 87 h 99"/>
                  <a:gd name="T38" fmla="*/ 45 w 72"/>
                  <a:gd name="T39" fmla="*/ 87 h 99"/>
                  <a:gd name="T40" fmla="*/ 48 w 72"/>
                  <a:gd name="T41" fmla="*/ 90 h 99"/>
                  <a:gd name="T42" fmla="*/ 48 w 72"/>
                  <a:gd name="T43" fmla="*/ 81 h 99"/>
                  <a:gd name="T44" fmla="*/ 45 w 72"/>
                  <a:gd name="T45" fmla="*/ 84 h 99"/>
                  <a:gd name="T46" fmla="*/ 28 w 72"/>
                  <a:gd name="T47" fmla="*/ 84 h 99"/>
                  <a:gd name="T48" fmla="*/ 25 w 72"/>
                  <a:gd name="T49" fmla="*/ 81 h 99"/>
                  <a:gd name="T50" fmla="*/ 28 w 72"/>
                  <a:gd name="T51" fmla="*/ 78 h 99"/>
                  <a:gd name="T52" fmla="*/ 45 w 72"/>
                  <a:gd name="T53" fmla="*/ 78 h 99"/>
                  <a:gd name="T54" fmla="*/ 48 w 72"/>
                  <a:gd name="T55" fmla="*/ 81 h 99"/>
                  <a:gd name="T56" fmla="*/ 71 w 72"/>
                  <a:gd name="T57" fmla="*/ 14 h 99"/>
                  <a:gd name="T58" fmla="*/ 71 w 72"/>
                  <a:gd name="T59" fmla="*/ 18 h 99"/>
                  <a:gd name="T60" fmla="*/ 60 w 72"/>
                  <a:gd name="T61" fmla="*/ 30 h 99"/>
                  <a:gd name="T62" fmla="*/ 55 w 72"/>
                  <a:gd name="T63" fmla="*/ 30 h 99"/>
                  <a:gd name="T64" fmla="*/ 55 w 72"/>
                  <a:gd name="T65" fmla="*/ 25 h 99"/>
                  <a:gd name="T66" fmla="*/ 66 w 72"/>
                  <a:gd name="T67" fmla="*/ 13 h 99"/>
                  <a:gd name="T68" fmla="*/ 71 w 72"/>
                  <a:gd name="T69" fmla="*/ 14 h 99"/>
                  <a:gd name="T70" fmla="*/ 36 w 72"/>
                  <a:gd name="T71" fmla="*/ 0 h 99"/>
                  <a:gd name="T72" fmla="*/ 40 w 72"/>
                  <a:gd name="T73" fmla="*/ 3 h 99"/>
                  <a:gd name="T74" fmla="*/ 40 w 72"/>
                  <a:gd name="T75" fmla="*/ 20 h 99"/>
                  <a:gd name="T76" fmla="*/ 36 w 72"/>
                  <a:gd name="T77" fmla="*/ 23 h 99"/>
                  <a:gd name="T78" fmla="*/ 33 w 72"/>
                  <a:gd name="T79" fmla="*/ 20 h 99"/>
                  <a:gd name="T80" fmla="*/ 33 w 72"/>
                  <a:gd name="T81" fmla="*/ 3 h 99"/>
                  <a:gd name="T82" fmla="*/ 36 w 72"/>
                  <a:gd name="T83" fmla="*/ 0 h 99"/>
                  <a:gd name="T84" fmla="*/ 1 w 72"/>
                  <a:gd name="T85" fmla="*/ 14 h 99"/>
                  <a:gd name="T86" fmla="*/ 6 w 72"/>
                  <a:gd name="T87" fmla="*/ 13 h 99"/>
                  <a:gd name="T88" fmla="*/ 18 w 72"/>
                  <a:gd name="T89" fmla="*/ 25 h 99"/>
                  <a:gd name="T90" fmla="*/ 17 w 72"/>
                  <a:gd name="T91" fmla="*/ 30 h 99"/>
                  <a:gd name="T92" fmla="*/ 13 w 72"/>
                  <a:gd name="T93" fmla="*/ 30 h 99"/>
                  <a:gd name="T94" fmla="*/ 1 w 72"/>
                  <a:gd name="T95" fmla="*/ 18 h 99"/>
                  <a:gd name="T96" fmla="*/ 1 w 72"/>
                  <a:gd name="T97" fmla="*/ 1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99">
                    <a:moveTo>
                      <a:pt x="36" y="31"/>
                    </a:moveTo>
                    <a:cubicBezTo>
                      <a:pt x="24" y="31"/>
                      <a:pt x="15" y="41"/>
                      <a:pt x="15" y="53"/>
                    </a:cubicBezTo>
                    <a:moveTo>
                      <a:pt x="25" y="74"/>
                    </a:moveTo>
                    <a:cubicBezTo>
                      <a:pt x="24" y="74"/>
                      <a:pt x="24" y="74"/>
                      <a:pt x="24" y="74"/>
                    </a:cubicBezTo>
                    <a:cubicBezTo>
                      <a:pt x="17" y="70"/>
                      <a:pt x="12" y="62"/>
                      <a:pt x="12" y="53"/>
                    </a:cubicBezTo>
                    <a:cubicBezTo>
                      <a:pt x="12" y="40"/>
                      <a:pt x="23" y="29"/>
                      <a:pt x="36" y="29"/>
                    </a:cubicBezTo>
                    <a:cubicBezTo>
                      <a:pt x="50" y="29"/>
                      <a:pt x="60" y="40"/>
                      <a:pt x="60" y="53"/>
                    </a:cubicBezTo>
                    <a:cubicBezTo>
                      <a:pt x="60" y="62"/>
                      <a:pt x="56" y="70"/>
                      <a:pt x="48" y="74"/>
                    </a:cubicBezTo>
                    <a:cubicBezTo>
                      <a:pt x="48" y="74"/>
                      <a:pt x="48" y="74"/>
                      <a:pt x="48" y="74"/>
                    </a:cubicBezTo>
                    <a:lnTo>
                      <a:pt x="25" y="74"/>
                    </a:lnTo>
                    <a:close/>
                    <a:moveTo>
                      <a:pt x="36" y="99"/>
                    </a:moveTo>
                    <a:cubicBezTo>
                      <a:pt x="34" y="99"/>
                      <a:pt x="32" y="98"/>
                      <a:pt x="30" y="96"/>
                    </a:cubicBezTo>
                    <a:cubicBezTo>
                      <a:pt x="42" y="96"/>
                      <a:pt x="42" y="96"/>
                      <a:pt x="42" y="96"/>
                    </a:cubicBezTo>
                    <a:cubicBezTo>
                      <a:pt x="41" y="98"/>
                      <a:pt x="39" y="99"/>
                      <a:pt x="36" y="99"/>
                    </a:cubicBezTo>
                    <a:moveTo>
                      <a:pt x="48" y="90"/>
                    </a:moveTo>
                    <a:cubicBezTo>
                      <a:pt x="48" y="92"/>
                      <a:pt x="46" y="93"/>
                      <a:pt x="45" y="93"/>
                    </a:cubicBezTo>
                    <a:cubicBezTo>
                      <a:pt x="28" y="93"/>
                      <a:pt x="28" y="93"/>
                      <a:pt x="28" y="93"/>
                    </a:cubicBezTo>
                    <a:cubicBezTo>
                      <a:pt x="26" y="93"/>
                      <a:pt x="25" y="92"/>
                      <a:pt x="25" y="90"/>
                    </a:cubicBezTo>
                    <a:cubicBezTo>
                      <a:pt x="25" y="88"/>
                      <a:pt x="26" y="87"/>
                      <a:pt x="28" y="87"/>
                    </a:cubicBezTo>
                    <a:cubicBezTo>
                      <a:pt x="45" y="87"/>
                      <a:pt x="45" y="87"/>
                      <a:pt x="45" y="87"/>
                    </a:cubicBezTo>
                    <a:cubicBezTo>
                      <a:pt x="46" y="87"/>
                      <a:pt x="48" y="88"/>
                      <a:pt x="48" y="90"/>
                    </a:cubicBezTo>
                    <a:moveTo>
                      <a:pt x="48" y="81"/>
                    </a:moveTo>
                    <a:cubicBezTo>
                      <a:pt x="48" y="83"/>
                      <a:pt x="46" y="84"/>
                      <a:pt x="45" y="84"/>
                    </a:cubicBezTo>
                    <a:cubicBezTo>
                      <a:pt x="28" y="84"/>
                      <a:pt x="28" y="84"/>
                      <a:pt x="28" y="84"/>
                    </a:cubicBezTo>
                    <a:cubicBezTo>
                      <a:pt x="26" y="84"/>
                      <a:pt x="25" y="83"/>
                      <a:pt x="25" y="81"/>
                    </a:cubicBezTo>
                    <a:cubicBezTo>
                      <a:pt x="25" y="79"/>
                      <a:pt x="26" y="78"/>
                      <a:pt x="28" y="78"/>
                    </a:cubicBezTo>
                    <a:cubicBezTo>
                      <a:pt x="45" y="78"/>
                      <a:pt x="45" y="78"/>
                      <a:pt x="45" y="78"/>
                    </a:cubicBezTo>
                    <a:cubicBezTo>
                      <a:pt x="46" y="78"/>
                      <a:pt x="48" y="79"/>
                      <a:pt x="48" y="81"/>
                    </a:cubicBezTo>
                    <a:moveTo>
                      <a:pt x="71" y="14"/>
                    </a:moveTo>
                    <a:cubicBezTo>
                      <a:pt x="72" y="15"/>
                      <a:pt x="72" y="17"/>
                      <a:pt x="71" y="18"/>
                    </a:cubicBezTo>
                    <a:cubicBezTo>
                      <a:pt x="60" y="30"/>
                      <a:pt x="60" y="30"/>
                      <a:pt x="60" y="30"/>
                    </a:cubicBezTo>
                    <a:cubicBezTo>
                      <a:pt x="58" y="31"/>
                      <a:pt x="56" y="31"/>
                      <a:pt x="55" y="30"/>
                    </a:cubicBezTo>
                    <a:cubicBezTo>
                      <a:pt x="54" y="28"/>
                      <a:pt x="54" y="26"/>
                      <a:pt x="55" y="25"/>
                    </a:cubicBezTo>
                    <a:cubicBezTo>
                      <a:pt x="66" y="13"/>
                      <a:pt x="66" y="13"/>
                      <a:pt x="66" y="13"/>
                    </a:cubicBezTo>
                    <a:cubicBezTo>
                      <a:pt x="68" y="12"/>
                      <a:pt x="70" y="12"/>
                      <a:pt x="71" y="14"/>
                    </a:cubicBezTo>
                    <a:moveTo>
                      <a:pt x="36" y="0"/>
                    </a:moveTo>
                    <a:cubicBezTo>
                      <a:pt x="38" y="0"/>
                      <a:pt x="40" y="2"/>
                      <a:pt x="40" y="3"/>
                    </a:cubicBezTo>
                    <a:cubicBezTo>
                      <a:pt x="40" y="20"/>
                      <a:pt x="40" y="20"/>
                      <a:pt x="40" y="20"/>
                    </a:cubicBezTo>
                    <a:cubicBezTo>
                      <a:pt x="40" y="21"/>
                      <a:pt x="38" y="23"/>
                      <a:pt x="36" y="23"/>
                    </a:cubicBezTo>
                    <a:cubicBezTo>
                      <a:pt x="35" y="23"/>
                      <a:pt x="33" y="22"/>
                      <a:pt x="33" y="20"/>
                    </a:cubicBezTo>
                    <a:cubicBezTo>
                      <a:pt x="33" y="3"/>
                      <a:pt x="33" y="3"/>
                      <a:pt x="33" y="3"/>
                    </a:cubicBezTo>
                    <a:cubicBezTo>
                      <a:pt x="33" y="2"/>
                      <a:pt x="34" y="0"/>
                      <a:pt x="36" y="0"/>
                    </a:cubicBezTo>
                    <a:moveTo>
                      <a:pt x="1" y="14"/>
                    </a:moveTo>
                    <a:cubicBezTo>
                      <a:pt x="3" y="12"/>
                      <a:pt x="5" y="12"/>
                      <a:pt x="6" y="13"/>
                    </a:cubicBezTo>
                    <a:cubicBezTo>
                      <a:pt x="18" y="25"/>
                      <a:pt x="18" y="25"/>
                      <a:pt x="18" y="25"/>
                    </a:cubicBezTo>
                    <a:cubicBezTo>
                      <a:pt x="19" y="26"/>
                      <a:pt x="19" y="28"/>
                      <a:pt x="17" y="30"/>
                    </a:cubicBezTo>
                    <a:cubicBezTo>
                      <a:pt x="16" y="31"/>
                      <a:pt x="14" y="31"/>
                      <a:pt x="13" y="30"/>
                    </a:cubicBezTo>
                    <a:cubicBezTo>
                      <a:pt x="1" y="18"/>
                      <a:pt x="1" y="18"/>
                      <a:pt x="1" y="18"/>
                    </a:cubicBezTo>
                    <a:cubicBezTo>
                      <a:pt x="0" y="17"/>
                      <a:pt x="0" y="15"/>
                      <a:pt x="1" y="14"/>
                    </a:cubicBezTo>
                  </a:path>
                </a:pathLst>
              </a:custGeom>
              <a:solidFill>
                <a:schemeClr val="tx2">
                  <a:lumMod val="50000"/>
                </a:schemeClr>
              </a:solidFill>
              <a:ln>
                <a:noFill/>
              </a:ln>
              <a:extLst/>
            </p:spPr>
            <p:txBody>
              <a:bodyPr vert="horz" wrap="square" lIns="93247" tIns="46623" rIns="93247" bIns="46623" numCol="1" anchor="t" anchorCtr="0" compatLnSpc="1">
                <a:prstTxWarp prst="textNoShape">
                  <a:avLst/>
                </a:prstTxWarp>
              </a:bodyPr>
              <a:lstStyle/>
              <a:p>
                <a:pPr defTabSz="932380"/>
                <a:endParaRPr lang="en-US" sz="1836" kern="0" dirty="0">
                  <a:solidFill>
                    <a:srgbClr val="FFFFFF"/>
                  </a:solidFill>
                </a:endParaRPr>
              </a:p>
            </p:txBody>
          </p:sp>
        </p:grpSp>
        <p:sp>
          <p:nvSpPr>
            <p:cNvPr id="53" name="TextBox 52"/>
            <p:cNvSpPr txBox="1"/>
            <p:nvPr/>
          </p:nvSpPr>
          <p:spPr>
            <a:xfrm>
              <a:off x="1203066" y="4072954"/>
              <a:ext cx="2222382" cy="415847"/>
            </a:xfrm>
            <a:prstGeom prst="rect">
              <a:avLst/>
            </a:prstGeom>
            <a:noFill/>
          </p:spPr>
          <p:txBody>
            <a:bodyPr wrap="non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Legacy systems</a:t>
              </a:r>
            </a:p>
          </p:txBody>
        </p:sp>
        <p:sp>
          <p:nvSpPr>
            <p:cNvPr id="54" name="TextBox 53"/>
            <p:cNvSpPr txBox="1"/>
            <p:nvPr/>
          </p:nvSpPr>
          <p:spPr>
            <a:xfrm>
              <a:off x="5160691" y="4072954"/>
              <a:ext cx="2303677" cy="415847"/>
            </a:xfrm>
            <a:prstGeom prst="rect">
              <a:avLst/>
            </a:prstGeom>
            <a:noFill/>
          </p:spPr>
          <p:txBody>
            <a:bodyPr wrap="non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Current systems</a:t>
              </a:r>
            </a:p>
          </p:txBody>
        </p:sp>
        <p:sp>
          <p:nvSpPr>
            <p:cNvPr id="55" name="TextBox 54"/>
            <p:cNvSpPr txBox="1"/>
            <p:nvPr/>
          </p:nvSpPr>
          <p:spPr>
            <a:xfrm>
              <a:off x="9703125" y="3584757"/>
              <a:ext cx="1273940" cy="415847"/>
            </a:xfrm>
            <a:prstGeom prst="rect">
              <a:avLst/>
            </a:prstGeom>
            <a:noFill/>
          </p:spPr>
          <p:txBody>
            <a:bodyPr wrap="non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Big data</a:t>
              </a:r>
            </a:p>
          </p:txBody>
        </p:sp>
        <p:sp>
          <p:nvSpPr>
            <p:cNvPr id="56" name="TextBox 55"/>
            <p:cNvSpPr txBox="1"/>
            <p:nvPr/>
          </p:nvSpPr>
          <p:spPr>
            <a:xfrm>
              <a:off x="8924033" y="4072954"/>
              <a:ext cx="2711746" cy="415847"/>
            </a:xfrm>
            <a:prstGeom prst="rect">
              <a:avLst/>
            </a:prstGeom>
            <a:noFill/>
          </p:spPr>
          <p:txBody>
            <a:bodyPr wrap="none" rtlCol="0">
              <a:spAutoFit/>
            </a:bodyPr>
            <a:lstStyle/>
            <a:p>
              <a:pPr defTabSz="896386">
                <a:lnSpc>
                  <a:spcPct val="90000"/>
                </a:lnSpc>
                <a:spcAft>
                  <a:spcPts val="588"/>
                </a:spcAft>
              </a:pPr>
              <a:r>
                <a:rPr lang="en-US" sz="2353" kern="0" dirty="0">
                  <a:gradFill>
                    <a:gsLst>
                      <a:gs pos="4000">
                        <a:schemeClr val="tx1"/>
                      </a:gs>
                      <a:gs pos="100000">
                        <a:schemeClr val="tx1"/>
                      </a:gs>
                    </a:gsLst>
                    <a:lin ang="5400000" scaled="0"/>
                  </a:gradFill>
                </a:rPr>
                <a:t>Advanced analytics</a:t>
              </a:r>
            </a:p>
          </p:txBody>
        </p:sp>
        <p:cxnSp>
          <p:nvCxnSpPr>
            <p:cNvPr id="57" name="Straight Arrow Connector 56"/>
            <p:cNvCxnSpPr/>
            <p:nvPr/>
          </p:nvCxnSpPr>
          <p:spPr>
            <a:xfrm>
              <a:off x="774551" y="2943225"/>
              <a:ext cx="11191398" cy="0"/>
            </a:xfrm>
            <a:prstGeom prst="straightConnector1">
              <a:avLst/>
            </a:prstGeom>
            <a:noFill/>
            <a:ln w="31750">
              <a:solidFill>
                <a:schemeClr val="tx2">
                  <a:lumMod val="50000"/>
                </a:schemeClr>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cxnSp>
        <p:sp>
          <p:nvSpPr>
            <p:cNvPr id="58" name="Freeform 57"/>
            <p:cNvSpPr/>
            <p:nvPr/>
          </p:nvSpPr>
          <p:spPr bwMode="auto">
            <a:xfrm>
              <a:off x="774552" y="1362302"/>
              <a:ext cx="11191397" cy="4700808"/>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1750">
              <a:solidFill>
                <a:schemeClr val="tx1"/>
              </a:solidFill>
              <a:headEnd type="triangl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960" kern="0" dirty="0">
                <a:solidFill>
                  <a:srgbClr val="FFFFFF"/>
                </a:solidFill>
              </a:endParaRPr>
            </a:p>
          </p:txBody>
        </p:sp>
        <p:sp>
          <p:nvSpPr>
            <p:cNvPr id="59" name="Freeform 326"/>
            <p:cNvSpPr>
              <a:spLocks noEditPoints="1"/>
            </p:cNvSpPr>
            <p:nvPr/>
          </p:nvSpPr>
          <p:spPr bwMode="auto">
            <a:xfrm>
              <a:off x="8663939" y="1292921"/>
              <a:ext cx="880646" cy="1635485"/>
            </a:xfrm>
            <a:custGeom>
              <a:avLst/>
              <a:gdLst>
                <a:gd name="T0" fmla="*/ 365 w 819"/>
                <a:gd name="T1" fmla="*/ 749 h 1521"/>
                <a:gd name="T2" fmla="*/ 440 w 819"/>
                <a:gd name="T3" fmla="*/ 691 h 1521"/>
                <a:gd name="T4" fmla="*/ 392 w 819"/>
                <a:gd name="T5" fmla="*/ 641 h 1521"/>
                <a:gd name="T6" fmla="*/ 729 w 819"/>
                <a:gd name="T7" fmla="*/ 539 h 1521"/>
                <a:gd name="T8" fmla="*/ 355 w 819"/>
                <a:gd name="T9" fmla="*/ 6 h 1521"/>
                <a:gd name="T10" fmla="*/ 357 w 819"/>
                <a:gd name="T11" fmla="*/ 17 h 1521"/>
                <a:gd name="T12" fmla="*/ 373 w 819"/>
                <a:gd name="T13" fmla="*/ 10 h 1521"/>
                <a:gd name="T14" fmla="*/ 395 w 819"/>
                <a:gd name="T15" fmla="*/ 13 h 1521"/>
                <a:gd name="T16" fmla="*/ 423 w 819"/>
                <a:gd name="T17" fmla="*/ 16 h 1521"/>
                <a:gd name="T18" fmla="*/ 446 w 819"/>
                <a:gd name="T19" fmla="*/ 63 h 1521"/>
                <a:gd name="T20" fmla="*/ 419 w 819"/>
                <a:gd name="T21" fmla="*/ 31 h 1521"/>
                <a:gd name="T22" fmla="*/ 448 w 819"/>
                <a:gd name="T23" fmla="*/ 90 h 1521"/>
                <a:gd name="T24" fmla="*/ 454 w 819"/>
                <a:gd name="T25" fmla="*/ 139 h 1521"/>
                <a:gd name="T26" fmla="*/ 455 w 819"/>
                <a:gd name="T27" fmla="*/ 176 h 1521"/>
                <a:gd name="T28" fmla="*/ 457 w 819"/>
                <a:gd name="T29" fmla="*/ 194 h 1521"/>
                <a:gd name="T30" fmla="*/ 454 w 819"/>
                <a:gd name="T31" fmla="*/ 221 h 1521"/>
                <a:gd name="T32" fmla="*/ 445 w 819"/>
                <a:gd name="T33" fmla="*/ 242 h 1521"/>
                <a:gd name="T34" fmla="*/ 435 w 819"/>
                <a:gd name="T35" fmla="*/ 244 h 1521"/>
                <a:gd name="T36" fmla="*/ 422 w 819"/>
                <a:gd name="T37" fmla="*/ 243 h 1521"/>
                <a:gd name="T38" fmla="*/ 409 w 819"/>
                <a:gd name="T39" fmla="*/ 244 h 1521"/>
                <a:gd name="T40" fmla="*/ 378 w 819"/>
                <a:gd name="T41" fmla="*/ 275 h 1521"/>
                <a:gd name="T42" fmla="*/ 395 w 819"/>
                <a:gd name="T43" fmla="*/ 322 h 1521"/>
                <a:gd name="T44" fmla="*/ 401 w 819"/>
                <a:gd name="T45" fmla="*/ 483 h 1521"/>
                <a:gd name="T46" fmla="*/ 386 w 819"/>
                <a:gd name="T47" fmla="*/ 526 h 1521"/>
                <a:gd name="T48" fmla="*/ 502 w 819"/>
                <a:gd name="T49" fmla="*/ 641 h 1521"/>
                <a:gd name="T50" fmla="*/ 623 w 819"/>
                <a:gd name="T51" fmla="*/ 572 h 1521"/>
                <a:gd name="T52" fmla="*/ 678 w 819"/>
                <a:gd name="T53" fmla="*/ 526 h 1521"/>
                <a:gd name="T54" fmla="*/ 787 w 819"/>
                <a:gd name="T55" fmla="*/ 443 h 1521"/>
                <a:gd name="T56" fmla="*/ 707 w 819"/>
                <a:gd name="T57" fmla="*/ 558 h 1521"/>
                <a:gd name="T58" fmla="*/ 553 w 819"/>
                <a:gd name="T59" fmla="*/ 659 h 1521"/>
                <a:gd name="T60" fmla="*/ 526 w 819"/>
                <a:gd name="T61" fmla="*/ 714 h 1521"/>
                <a:gd name="T62" fmla="*/ 476 w 819"/>
                <a:gd name="T63" fmla="*/ 730 h 1521"/>
                <a:gd name="T64" fmla="*/ 405 w 819"/>
                <a:gd name="T65" fmla="*/ 967 h 1521"/>
                <a:gd name="T66" fmla="*/ 369 w 819"/>
                <a:gd name="T67" fmla="*/ 1306 h 1521"/>
                <a:gd name="T68" fmla="*/ 442 w 819"/>
                <a:gd name="T69" fmla="*/ 1467 h 1521"/>
                <a:gd name="T70" fmla="*/ 503 w 819"/>
                <a:gd name="T71" fmla="*/ 1508 h 1521"/>
                <a:gd name="T72" fmla="*/ 418 w 819"/>
                <a:gd name="T73" fmla="*/ 1521 h 1521"/>
                <a:gd name="T74" fmla="*/ 321 w 819"/>
                <a:gd name="T75" fmla="*/ 1513 h 1521"/>
                <a:gd name="T76" fmla="*/ 265 w 819"/>
                <a:gd name="T77" fmla="*/ 1473 h 1521"/>
                <a:gd name="T78" fmla="*/ 279 w 819"/>
                <a:gd name="T79" fmla="*/ 1175 h 1521"/>
                <a:gd name="T80" fmla="*/ 141 w 819"/>
                <a:gd name="T81" fmla="*/ 1322 h 1521"/>
                <a:gd name="T82" fmla="*/ 200 w 819"/>
                <a:gd name="T83" fmla="*/ 1457 h 1521"/>
                <a:gd name="T84" fmla="*/ 204 w 819"/>
                <a:gd name="T85" fmla="*/ 1485 h 1521"/>
                <a:gd name="T86" fmla="*/ 67 w 819"/>
                <a:gd name="T87" fmla="*/ 1419 h 1521"/>
                <a:gd name="T88" fmla="*/ 20 w 819"/>
                <a:gd name="T89" fmla="*/ 1366 h 1521"/>
                <a:gd name="T90" fmla="*/ 140 w 819"/>
                <a:gd name="T91" fmla="*/ 1136 h 1521"/>
                <a:gd name="T92" fmla="*/ 241 w 819"/>
                <a:gd name="T93" fmla="*/ 967 h 1521"/>
                <a:gd name="T94" fmla="*/ 30 w 819"/>
                <a:gd name="T95" fmla="*/ 1041 h 1521"/>
                <a:gd name="T96" fmla="*/ 142 w 819"/>
                <a:gd name="T97" fmla="*/ 811 h 1521"/>
                <a:gd name="T98" fmla="*/ 116 w 819"/>
                <a:gd name="T99" fmla="*/ 740 h 1521"/>
                <a:gd name="T100" fmla="*/ 105 w 819"/>
                <a:gd name="T101" fmla="*/ 706 h 1521"/>
                <a:gd name="T102" fmla="*/ 78 w 819"/>
                <a:gd name="T103" fmla="*/ 869 h 1521"/>
                <a:gd name="T104" fmla="*/ 4 w 819"/>
                <a:gd name="T105" fmla="*/ 803 h 1521"/>
                <a:gd name="T106" fmla="*/ 58 w 819"/>
                <a:gd name="T107" fmla="*/ 558 h 1521"/>
                <a:gd name="T108" fmla="*/ 186 w 819"/>
                <a:gd name="T109" fmla="*/ 284 h 1521"/>
                <a:gd name="T110" fmla="*/ 249 w 819"/>
                <a:gd name="T111" fmla="*/ 180 h 1521"/>
                <a:gd name="T112" fmla="*/ 257 w 819"/>
                <a:gd name="T113" fmla="*/ 152 h 1521"/>
                <a:gd name="T114" fmla="*/ 252 w 819"/>
                <a:gd name="T115" fmla="*/ 97 h 1521"/>
                <a:gd name="T116" fmla="*/ 283 w 819"/>
                <a:gd name="T117" fmla="*/ 35 h 1521"/>
                <a:gd name="T118" fmla="*/ 306 w 819"/>
                <a:gd name="T119" fmla="*/ 25 h 1521"/>
                <a:gd name="T120" fmla="*/ 330 w 819"/>
                <a:gd name="T121" fmla="*/ 18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9" h="1521">
                  <a:moveTo>
                    <a:pt x="302" y="1342"/>
                  </a:moveTo>
                  <a:lnTo>
                    <a:pt x="299" y="1356"/>
                  </a:lnTo>
                  <a:lnTo>
                    <a:pt x="299" y="1357"/>
                  </a:lnTo>
                  <a:lnTo>
                    <a:pt x="301" y="1349"/>
                  </a:lnTo>
                  <a:lnTo>
                    <a:pt x="302" y="1342"/>
                  </a:lnTo>
                  <a:close/>
                  <a:moveTo>
                    <a:pt x="363" y="624"/>
                  </a:moveTo>
                  <a:lnTo>
                    <a:pt x="353" y="651"/>
                  </a:lnTo>
                  <a:lnTo>
                    <a:pt x="352" y="652"/>
                  </a:lnTo>
                  <a:lnTo>
                    <a:pt x="351" y="655"/>
                  </a:lnTo>
                  <a:lnTo>
                    <a:pt x="347" y="669"/>
                  </a:lnTo>
                  <a:lnTo>
                    <a:pt x="351" y="684"/>
                  </a:lnTo>
                  <a:lnTo>
                    <a:pt x="357" y="699"/>
                  </a:lnTo>
                  <a:lnTo>
                    <a:pt x="364" y="714"/>
                  </a:lnTo>
                  <a:lnTo>
                    <a:pt x="368" y="728"/>
                  </a:lnTo>
                  <a:lnTo>
                    <a:pt x="365" y="744"/>
                  </a:lnTo>
                  <a:lnTo>
                    <a:pt x="365" y="746"/>
                  </a:lnTo>
                  <a:lnTo>
                    <a:pt x="365" y="749"/>
                  </a:lnTo>
                  <a:lnTo>
                    <a:pt x="366" y="750"/>
                  </a:lnTo>
                  <a:lnTo>
                    <a:pt x="365" y="755"/>
                  </a:lnTo>
                  <a:lnTo>
                    <a:pt x="364" y="761"/>
                  </a:lnTo>
                  <a:lnTo>
                    <a:pt x="361" y="753"/>
                  </a:lnTo>
                  <a:lnTo>
                    <a:pt x="361" y="758"/>
                  </a:lnTo>
                  <a:lnTo>
                    <a:pt x="364" y="767"/>
                  </a:lnTo>
                  <a:lnTo>
                    <a:pt x="364" y="766"/>
                  </a:lnTo>
                  <a:lnTo>
                    <a:pt x="364" y="768"/>
                  </a:lnTo>
                  <a:lnTo>
                    <a:pt x="365" y="775"/>
                  </a:lnTo>
                  <a:lnTo>
                    <a:pt x="372" y="771"/>
                  </a:lnTo>
                  <a:lnTo>
                    <a:pt x="412" y="739"/>
                  </a:lnTo>
                  <a:lnTo>
                    <a:pt x="450" y="708"/>
                  </a:lnTo>
                  <a:lnTo>
                    <a:pt x="450" y="705"/>
                  </a:lnTo>
                  <a:lnTo>
                    <a:pt x="450" y="703"/>
                  </a:lnTo>
                  <a:lnTo>
                    <a:pt x="448" y="699"/>
                  </a:lnTo>
                  <a:lnTo>
                    <a:pt x="442" y="693"/>
                  </a:lnTo>
                  <a:lnTo>
                    <a:pt x="440" y="691"/>
                  </a:lnTo>
                  <a:lnTo>
                    <a:pt x="437" y="687"/>
                  </a:lnTo>
                  <a:lnTo>
                    <a:pt x="435" y="684"/>
                  </a:lnTo>
                  <a:lnTo>
                    <a:pt x="433" y="682"/>
                  </a:lnTo>
                  <a:lnTo>
                    <a:pt x="432" y="678"/>
                  </a:lnTo>
                  <a:lnTo>
                    <a:pt x="430" y="673"/>
                  </a:lnTo>
                  <a:lnTo>
                    <a:pt x="428" y="668"/>
                  </a:lnTo>
                  <a:lnTo>
                    <a:pt x="427" y="662"/>
                  </a:lnTo>
                  <a:lnTo>
                    <a:pt x="426" y="659"/>
                  </a:lnTo>
                  <a:lnTo>
                    <a:pt x="424" y="656"/>
                  </a:lnTo>
                  <a:lnTo>
                    <a:pt x="424" y="656"/>
                  </a:lnTo>
                  <a:lnTo>
                    <a:pt x="422" y="655"/>
                  </a:lnTo>
                  <a:lnTo>
                    <a:pt x="399" y="643"/>
                  </a:lnTo>
                  <a:lnTo>
                    <a:pt x="397" y="644"/>
                  </a:lnTo>
                  <a:lnTo>
                    <a:pt x="396" y="642"/>
                  </a:lnTo>
                  <a:lnTo>
                    <a:pt x="395" y="642"/>
                  </a:lnTo>
                  <a:lnTo>
                    <a:pt x="392" y="641"/>
                  </a:lnTo>
                  <a:lnTo>
                    <a:pt x="392" y="641"/>
                  </a:lnTo>
                  <a:lnTo>
                    <a:pt x="392" y="642"/>
                  </a:lnTo>
                  <a:lnTo>
                    <a:pt x="391" y="642"/>
                  </a:lnTo>
                  <a:lnTo>
                    <a:pt x="387" y="641"/>
                  </a:lnTo>
                  <a:lnTo>
                    <a:pt x="384" y="638"/>
                  </a:lnTo>
                  <a:lnTo>
                    <a:pt x="382" y="634"/>
                  </a:lnTo>
                  <a:lnTo>
                    <a:pt x="374" y="630"/>
                  </a:lnTo>
                  <a:lnTo>
                    <a:pt x="369" y="628"/>
                  </a:lnTo>
                  <a:lnTo>
                    <a:pt x="365" y="625"/>
                  </a:lnTo>
                  <a:lnTo>
                    <a:pt x="363" y="624"/>
                  </a:lnTo>
                  <a:close/>
                  <a:moveTo>
                    <a:pt x="363" y="620"/>
                  </a:moveTo>
                  <a:lnTo>
                    <a:pt x="363" y="622"/>
                  </a:lnTo>
                  <a:lnTo>
                    <a:pt x="365" y="624"/>
                  </a:lnTo>
                  <a:lnTo>
                    <a:pt x="369" y="625"/>
                  </a:lnTo>
                  <a:lnTo>
                    <a:pt x="364" y="622"/>
                  </a:lnTo>
                  <a:lnTo>
                    <a:pt x="364" y="621"/>
                  </a:lnTo>
                  <a:lnTo>
                    <a:pt x="363" y="620"/>
                  </a:lnTo>
                  <a:close/>
                  <a:moveTo>
                    <a:pt x="729" y="539"/>
                  </a:moveTo>
                  <a:lnTo>
                    <a:pt x="725" y="541"/>
                  </a:lnTo>
                  <a:lnTo>
                    <a:pt x="722" y="545"/>
                  </a:lnTo>
                  <a:lnTo>
                    <a:pt x="725" y="542"/>
                  </a:lnTo>
                  <a:lnTo>
                    <a:pt x="729" y="539"/>
                  </a:lnTo>
                  <a:close/>
                  <a:moveTo>
                    <a:pt x="351" y="0"/>
                  </a:moveTo>
                  <a:lnTo>
                    <a:pt x="351" y="1"/>
                  </a:lnTo>
                  <a:lnTo>
                    <a:pt x="350" y="3"/>
                  </a:lnTo>
                  <a:lnTo>
                    <a:pt x="347" y="5"/>
                  </a:lnTo>
                  <a:lnTo>
                    <a:pt x="346" y="8"/>
                  </a:lnTo>
                  <a:lnTo>
                    <a:pt x="344" y="12"/>
                  </a:lnTo>
                  <a:lnTo>
                    <a:pt x="348" y="9"/>
                  </a:lnTo>
                  <a:lnTo>
                    <a:pt x="351" y="6"/>
                  </a:lnTo>
                  <a:lnTo>
                    <a:pt x="353" y="5"/>
                  </a:lnTo>
                  <a:lnTo>
                    <a:pt x="355" y="5"/>
                  </a:lnTo>
                  <a:lnTo>
                    <a:pt x="356" y="4"/>
                  </a:lnTo>
                  <a:lnTo>
                    <a:pt x="356" y="5"/>
                  </a:lnTo>
                  <a:lnTo>
                    <a:pt x="355" y="6"/>
                  </a:lnTo>
                  <a:lnTo>
                    <a:pt x="353" y="8"/>
                  </a:lnTo>
                  <a:lnTo>
                    <a:pt x="352" y="10"/>
                  </a:lnTo>
                  <a:lnTo>
                    <a:pt x="352" y="12"/>
                  </a:lnTo>
                  <a:lnTo>
                    <a:pt x="352" y="13"/>
                  </a:lnTo>
                  <a:lnTo>
                    <a:pt x="353" y="12"/>
                  </a:lnTo>
                  <a:lnTo>
                    <a:pt x="355" y="12"/>
                  </a:lnTo>
                  <a:lnTo>
                    <a:pt x="359" y="8"/>
                  </a:lnTo>
                  <a:lnTo>
                    <a:pt x="361" y="5"/>
                  </a:lnTo>
                  <a:lnTo>
                    <a:pt x="365" y="3"/>
                  </a:lnTo>
                  <a:lnTo>
                    <a:pt x="368" y="1"/>
                  </a:lnTo>
                  <a:lnTo>
                    <a:pt x="369" y="1"/>
                  </a:lnTo>
                  <a:lnTo>
                    <a:pt x="369" y="1"/>
                  </a:lnTo>
                  <a:lnTo>
                    <a:pt x="368" y="3"/>
                  </a:lnTo>
                  <a:lnTo>
                    <a:pt x="365" y="5"/>
                  </a:lnTo>
                  <a:lnTo>
                    <a:pt x="364" y="6"/>
                  </a:lnTo>
                  <a:lnTo>
                    <a:pt x="360" y="12"/>
                  </a:lnTo>
                  <a:lnTo>
                    <a:pt x="357" y="17"/>
                  </a:lnTo>
                  <a:lnTo>
                    <a:pt x="353" y="22"/>
                  </a:lnTo>
                  <a:lnTo>
                    <a:pt x="351" y="27"/>
                  </a:lnTo>
                  <a:lnTo>
                    <a:pt x="352" y="27"/>
                  </a:lnTo>
                  <a:lnTo>
                    <a:pt x="352" y="25"/>
                  </a:lnTo>
                  <a:lnTo>
                    <a:pt x="355" y="22"/>
                  </a:lnTo>
                  <a:lnTo>
                    <a:pt x="359" y="18"/>
                  </a:lnTo>
                  <a:lnTo>
                    <a:pt x="360" y="16"/>
                  </a:lnTo>
                  <a:lnTo>
                    <a:pt x="363" y="13"/>
                  </a:lnTo>
                  <a:lnTo>
                    <a:pt x="366" y="10"/>
                  </a:lnTo>
                  <a:lnTo>
                    <a:pt x="370" y="9"/>
                  </a:lnTo>
                  <a:lnTo>
                    <a:pt x="373" y="8"/>
                  </a:lnTo>
                  <a:lnTo>
                    <a:pt x="374" y="8"/>
                  </a:lnTo>
                  <a:lnTo>
                    <a:pt x="375" y="9"/>
                  </a:lnTo>
                  <a:lnTo>
                    <a:pt x="374" y="9"/>
                  </a:lnTo>
                  <a:lnTo>
                    <a:pt x="373" y="9"/>
                  </a:lnTo>
                  <a:lnTo>
                    <a:pt x="372" y="10"/>
                  </a:lnTo>
                  <a:lnTo>
                    <a:pt x="373" y="10"/>
                  </a:lnTo>
                  <a:lnTo>
                    <a:pt x="378" y="9"/>
                  </a:lnTo>
                  <a:lnTo>
                    <a:pt x="381" y="9"/>
                  </a:lnTo>
                  <a:lnTo>
                    <a:pt x="383" y="8"/>
                  </a:lnTo>
                  <a:lnTo>
                    <a:pt x="387" y="8"/>
                  </a:lnTo>
                  <a:lnTo>
                    <a:pt x="388" y="8"/>
                  </a:lnTo>
                  <a:lnTo>
                    <a:pt x="390" y="8"/>
                  </a:lnTo>
                  <a:lnTo>
                    <a:pt x="391" y="9"/>
                  </a:lnTo>
                  <a:lnTo>
                    <a:pt x="390" y="9"/>
                  </a:lnTo>
                  <a:lnTo>
                    <a:pt x="387" y="9"/>
                  </a:lnTo>
                  <a:lnTo>
                    <a:pt x="384" y="10"/>
                  </a:lnTo>
                  <a:lnTo>
                    <a:pt x="384" y="10"/>
                  </a:lnTo>
                  <a:lnTo>
                    <a:pt x="386" y="12"/>
                  </a:lnTo>
                  <a:lnTo>
                    <a:pt x="387" y="13"/>
                  </a:lnTo>
                  <a:lnTo>
                    <a:pt x="387" y="13"/>
                  </a:lnTo>
                  <a:lnTo>
                    <a:pt x="390" y="13"/>
                  </a:lnTo>
                  <a:lnTo>
                    <a:pt x="392" y="13"/>
                  </a:lnTo>
                  <a:lnTo>
                    <a:pt x="395" y="13"/>
                  </a:lnTo>
                  <a:lnTo>
                    <a:pt x="395" y="13"/>
                  </a:lnTo>
                  <a:lnTo>
                    <a:pt x="393" y="13"/>
                  </a:lnTo>
                  <a:lnTo>
                    <a:pt x="392" y="14"/>
                  </a:lnTo>
                  <a:lnTo>
                    <a:pt x="388" y="16"/>
                  </a:lnTo>
                  <a:lnTo>
                    <a:pt x="388" y="16"/>
                  </a:lnTo>
                  <a:lnTo>
                    <a:pt x="388" y="16"/>
                  </a:lnTo>
                  <a:lnTo>
                    <a:pt x="387" y="16"/>
                  </a:lnTo>
                  <a:lnTo>
                    <a:pt x="384" y="18"/>
                  </a:lnTo>
                  <a:lnTo>
                    <a:pt x="390" y="16"/>
                  </a:lnTo>
                  <a:lnTo>
                    <a:pt x="393" y="14"/>
                  </a:lnTo>
                  <a:lnTo>
                    <a:pt x="400" y="13"/>
                  </a:lnTo>
                  <a:lnTo>
                    <a:pt x="405" y="13"/>
                  </a:lnTo>
                  <a:lnTo>
                    <a:pt x="409" y="14"/>
                  </a:lnTo>
                  <a:lnTo>
                    <a:pt x="409" y="14"/>
                  </a:lnTo>
                  <a:lnTo>
                    <a:pt x="412" y="14"/>
                  </a:lnTo>
                  <a:lnTo>
                    <a:pt x="418" y="14"/>
                  </a:lnTo>
                  <a:lnTo>
                    <a:pt x="423" y="16"/>
                  </a:lnTo>
                  <a:lnTo>
                    <a:pt x="428" y="18"/>
                  </a:lnTo>
                  <a:lnTo>
                    <a:pt x="433" y="21"/>
                  </a:lnTo>
                  <a:lnTo>
                    <a:pt x="437" y="23"/>
                  </a:lnTo>
                  <a:lnTo>
                    <a:pt x="440" y="27"/>
                  </a:lnTo>
                  <a:lnTo>
                    <a:pt x="441" y="31"/>
                  </a:lnTo>
                  <a:lnTo>
                    <a:pt x="442" y="34"/>
                  </a:lnTo>
                  <a:lnTo>
                    <a:pt x="442" y="36"/>
                  </a:lnTo>
                  <a:lnTo>
                    <a:pt x="444" y="37"/>
                  </a:lnTo>
                  <a:lnTo>
                    <a:pt x="444" y="39"/>
                  </a:lnTo>
                  <a:lnTo>
                    <a:pt x="444" y="40"/>
                  </a:lnTo>
                  <a:lnTo>
                    <a:pt x="446" y="47"/>
                  </a:lnTo>
                  <a:lnTo>
                    <a:pt x="448" y="53"/>
                  </a:lnTo>
                  <a:lnTo>
                    <a:pt x="448" y="58"/>
                  </a:lnTo>
                  <a:lnTo>
                    <a:pt x="448" y="61"/>
                  </a:lnTo>
                  <a:lnTo>
                    <a:pt x="446" y="63"/>
                  </a:lnTo>
                  <a:lnTo>
                    <a:pt x="446" y="65"/>
                  </a:lnTo>
                  <a:lnTo>
                    <a:pt x="446" y="63"/>
                  </a:lnTo>
                  <a:lnTo>
                    <a:pt x="446" y="61"/>
                  </a:lnTo>
                  <a:lnTo>
                    <a:pt x="445" y="58"/>
                  </a:lnTo>
                  <a:lnTo>
                    <a:pt x="445" y="53"/>
                  </a:lnTo>
                  <a:lnTo>
                    <a:pt x="442" y="48"/>
                  </a:lnTo>
                  <a:lnTo>
                    <a:pt x="440" y="43"/>
                  </a:lnTo>
                  <a:lnTo>
                    <a:pt x="436" y="37"/>
                  </a:lnTo>
                  <a:lnTo>
                    <a:pt x="430" y="34"/>
                  </a:lnTo>
                  <a:lnTo>
                    <a:pt x="424" y="31"/>
                  </a:lnTo>
                  <a:lnTo>
                    <a:pt x="419" y="28"/>
                  </a:lnTo>
                  <a:lnTo>
                    <a:pt x="413" y="27"/>
                  </a:lnTo>
                  <a:lnTo>
                    <a:pt x="406" y="26"/>
                  </a:lnTo>
                  <a:lnTo>
                    <a:pt x="401" y="26"/>
                  </a:lnTo>
                  <a:lnTo>
                    <a:pt x="395" y="27"/>
                  </a:lnTo>
                  <a:lnTo>
                    <a:pt x="400" y="27"/>
                  </a:lnTo>
                  <a:lnTo>
                    <a:pt x="405" y="27"/>
                  </a:lnTo>
                  <a:lnTo>
                    <a:pt x="412" y="28"/>
                  </a:lnTo>
                  <a:lnTo>
                    <a:pt x="419" y="31"/>
                  </a:lnTo>
                  <a:lnTo>
                    <a:pt x="426" y="34"/>
                  </a:lnTo>
                  <a:lnTo>
                    <a:pt x="431" y="37"/>
                  </a:lnTo>
                  <a:lnTo>
                    <a:pt x="435" y="41"/>
                  </a:lnTo>
                  <a:lnTo>
                    <a:pt x="440" y="47"/>
                  </a:lnTo>
                  <a:lnTo>
                    <a:pt x="442" y="52"/>
                  </a:lnTo>
                  <a:lnTo>
                    <a:pt x="444" y="57"/>
                  </a:lnTo>
                  <a:lnTo>
                    <a:pt x="444" y="61"/>
                  </a:lnTo>
                  <a:lnTo>
                    <a:pt x="444" y="65"/>
                  </a:lnTo>
                  <a:lnTo>
                    <a:pt x="442" y="67"/>
                  </a:lnTo>
                  <a:lnTo>
                    <a:pt x="441" y="70"/>
                  </a:lnTo>
                  <a:lnTo>
                    <a:pt x="441" y="71"/>
                  </a:lnTo>
                  <a:lnTo>
                    <a:pt x="440" y="74"/>
                  </a:lnTo>
                  <a:lnTo>
                    <a:pt x="439" y="78"/>
                  </a:lnTo>
                  <a:lnTo>
                    <a:pt x="439" y="78"/>
                  </a:lnTo>
                  <a:lnTo>
                    <a:pt x="441" y="81"/>
                  </a:lnTo>
                  <a:lnTo>
                    <a:pt x="444" y="85"/>
                  </a:lnTo>
                  <a:lnTo>
                    <a:pt x="448" y="90"/>
                  </a:lnTo>
                  <a:lnTo>
                    <a:pt x="450" y="94"/>
                  </a:lnTo>
                  <a:lnTo>
                    <a:pt x="453" y="99"/>
                  </a:lnTo>
                  <a:lnTo>
                    <a:pt x="453" y="103"/>
                  </a:lnTo>
                  <a:lnTo>
                    <a:pt x="453" y="107"/>
                  </a:lnTo>
                  <a:lnTo>
                    <a:pt x="451" y="110"/>
                  </a:lnTo>
                  <a:lnTo>
                    <a:pt x="450" y="112"/>
                  </a:lnTo>
                  <a:lnTo>
                    <a:pt x="451" y="111"/>
                  </a:lnTo>
                  <a:lnTo>
                    <a:pt x="450" y="112"/>
                  </a:lnTo>
                  <a:lnTo>
                    <a:pt x="450" y="114"/>
                  </a:lnTo>
                  <a:lnTo>
                    <a:pt x="448" y="115"/>
                  </a:lnTo>
                  <a:lnTo>
                    <a:pt x="445" y="116"/>
                  </a:lnTo>
                  <a:lnTo>
                    <a:pt x="448" y="120"/>
                  </a:lnTo>
                  <a:lnTo>
                    <a:pt x="450" y="124"/>
                  </a:lnTo>
                  <a:lnTo>
                    <a:pt x="453" y="130"/>
                  </a:lnTo>
                  <a:lnTo>
                    <a:pt x="454" y="136"/>
                  </a:lnTo>
                  <a:lnTo>
                    <a:pt x="454" y="138"/>
                  </a:lnTo>
                  <a:lnTo>
                    <a:pt x="454" y="139"/>
                  </a:lnTo>
                  <a:lnTo>
                    <a:pt x="455" y="141"/>
                  </a:lnTo>
                  <a:lnTo>
                    <a:pt x="458" y="141"/>
                  </a:lnTo>
                  <a:lnTo>
                    <a:pt x="460" y="142"/>
                  </a:lnTo>
                  <a:lnTo>
                    <a:pt x="464" y="146"/>
                  </a:lnTo>
                  <a:lnTo>
                    <a:pt x="467" y="150"/>
                  </a:lnTo>
                  <a:lnTo>
                    <a:pt x="468" y="155"/>
                  </a:lnTo>
                  <a:lnTo>
                    <a:pt x="467" y="158"/>
                  </a:lnTo>
                  <a:lnTo>
                    <a:pt x="467" y="161"/>
                  </a:lnTo>
                  <a:lnTo>
                    <a:pt x="464" y="164"/>
                  </a:lnTo>
                  <a:lnTo>
                    <a:pt x="462" y="167"/>
                  </a:lnTo>
                  <a:lnTo>
                    <a:pt x="460" y="168"/>
                  </a:lnTo>
                  <a:lnTo>
                    <a:pt x="458" y="168"/>
                  </a:lnTo>
                  <a:lnTo>
                    <a:pt x="455" y="169"/>
                  </a:lnTo>
                  <a:lnTo>
                    <a:pt x="453" y="169"/>
                  </a:lnTo>
                  <a:lnTo>
                    <a:pt x="454" y="170"/>
                  </a:lnTo>
                  <a:lnTo>
                    <a:pt x="454" y="173"/>
                  </a:lnTo>
                  <a:lnTo>
                    <a:pt x="455" y="176"/>
                  </a:lnTo>
                  <a:lnTo>
                    <a:pt x="455" y="180"/>
                  </a:lnTo>
                  <a:lnTo>
                    <a:pt x="457" y="182"/>
                  </a:lnTo>
                  <a:lnTo>
                    <a:pt x="457" y="183"/>
                  </a:lnTo>
                  <a:lnTo>
                    <a:pt x="457" y="182"/>
                  </a:lnTo>
                  <a:lnTo>
                    <a:pt x="457" y="181"/>
                  </a:lnTo>
                  <a:lnTo>
                    <a:pt x="457" y="181"/>
                  </a:lnTo>
                  <a:lnTo>
                    <a:pt x="457" y="181"/>
                  </a:lnTo>
                  <a:lnTo>
                    <a:pt x="457" y="182"/>
                  </a:lnTo>
                  <a:lnTo>
                    <a:pt x="458" y="183"/>
                  </a:lnTo>
                  <a:lnTo>
                    <a:pt x="457" y="185"/>
                  </a:lnTo>
                  <a:lnTo>
                    <a:pt x="455" y="187"/>
                  </a:lnTo>
                  <a:lnTo>
                    <a:pt x="455" y="189"/>
                  </a:lnTo>
                  <a:lnTo>
                    <a:pt x="455" y="189"/>
                  </a:lnTo>
                  <a:lnTo>
                    <a:pt x="457" y="191"/>
                  </a:lnTo>
                  <a:lnTo>
                    <a:pt x="455" y="192"/>
                  </a:lnTo>
                  <a:lnTo>
                    <a:pt x="457" y="192"/>
                  </a:lnTo>
                  <a:lnTo>
                    <a:pt x="457" y="194"/>
                  </a:lnTo>
                  <a:lnTo>
                    <a:pt x="458" y="196"/>
                  </a:lnTo>
                  <a:lnTo>
                    <a:pt x="458" y="198"/>
                  </a:lnTo>
                  <a:lnTo>
                    <a:pt x="458" y="200"/>
                  </a:lnTo>
                  <a:lnTo>
                    <a:pt x="457" y="203"/>
                  </a:lnTo>
                  <a:lnTo>
                    <a:pt x="455" y="204"/>
                  </a:lnTo>
                  <a:lnTo>
                    <a:pt x="453" y="205"/>
                  </a:lnTo>
                  <a:lnTo>
                    <a:pt x="449" y="207"/>
                  </a:lnTo>
                  <a:lnTo>
                    <a:pt x="446" y="208"/>
                  </a:lnTo>
                  <a:lnTo>
                    <a:pt x="449" y="208"/>
                  </a:lnTo>
                  <a:lnTo>
                    <a:pt x="451" y="211"/>
                  </a:lnTo>
                  <a:lnTo>
                    <a:pt x="453" y="213"/>
                  </a:lnTo>
                  <a:lnTo>
                    <a:pt x="454" y="216"/>
                  </a:lnTo>
                  <a:lnTo>
                    <a:pt x="455" y="217"/>
                  </a:lnTo>
                  <a:lnTo>
                    <a:pt x="455" y="218"/>
                  </a:lnTo>
                  <a:lnTo>
                    <a:pt x="454" y="218"/>
                  </a:lnTo>
                  <a:lnTo>
                    <a:pt x="453" y="217"/>
                  </a:lnTo>
                  <a:lnTo>
                    <a:pt x="454" y="221"/>
                  </a:lnTo>
                  <a:lnTo>
                    <a:pt x="453" y="225"/>
                  </a:lnTo>
                  <a:lnTo>
                    <a:pt x="453" y="227"/>
                  </a:lnTo>
                  <a:lnTo>
                    <a:pt x="454" y="230"/>
                  </a:lnTo>
                  <a:lnTo>
                    <a:pt x="454" y="234"/>
                  </a:lnTo>
                  <a:lnTo>
                    <a:pt x="453" y="236"/>
                  </a:lnTo>
                  <a:lnTo>
                    <a:pt x="451" y="239"/>
                  </a:lnTo>
                  <a:lnTo>
                    <a:pt x="450" y="240"/>
                  </a:lnTo>
                  <a:lnTo>
                    <a:pt x="449" y="240"/>
                  </a:lnTo>
                  <a:lnTo>
                    <a:pt x="449" y="240"/>
                  </a:lnTo>
                  <a:lnTo>
                    <a:pt x="449" y="240"/>
                  </a:lnTo>
                  <a:lnTo>
                    <a:pt x="448" y="243"/>
                  </a:lnTo>
                  <a:lnTo>
                    <a:pt x="445" y="244"/>
                  </a:lnTo>
                  <a:lnTo>
                    <a:pt x="444" y="244"/>
                  </a:lnTo>
                  <a:lnTo>
                    <a:pt x="444" y="244"/>
                  </a:lnTo>
                  <a:lnTo>
                    <a:pt x="444" y="244"/>
                  </a:lnTo>
                  <a:lnTo>
                    <a:pt x="445" y="243"/>
                  </a:lnTo>
                  <a:lnTo>
                    <a:pt x="445" y="242"/>
                  </a:lnTo>
                  <a:lnTo>
                    <a:pt x="445" y="239"/>
                  </a:lnTo>
                  <a:lnTo>
                    <a:pt x="445" y="236"/>
                  </a:lnTo>
                  <a:lnTo>
                    <a:pt x="442" y="238"/>
                  </a:lnTo>
                  <a:lnTo>
                    <a:pt x="442" y="242"/>
                  </a:lnTo>
                  <a:lnTo>
                    <a:pt x="441" y="244"/>
                  </a:lnTo>
                  <a:lnTo>
                    <a:pt x="441" y="245"/>
                  </a:lnTo>
                  <a:lnTo>
                    <a:pt x="440" y="245"/>
                  </a:lnTo>
                  <a:lnTo>
                    <a:pt x="440" y="245"/>
                  </a:lnTo>
                  <a:lnTo>
                    <a:pt x="440" y="245"/>
                  </a:lnTo>
                  <a:lnTo>
                    <a:pt x="439" y="243"/>
                  </a:lnTo>
                  <a:lnTo>
                    <a:pt x="439" y="242"/>
                  </a:lnTo>
                  <a:lnTo>
                    <a:pt x="437" y="244"/>
                  </a:lnTo>
                  <a:lnTo>
                    <a:pt x="437" y="245"/>
                  </a:lnTo>
                  <a:lnTo>
                    <a:pt x="436" y="247"/>
                  </a:lnTo>
                  <a:lnTo>
                    <a:pt x="436" y="247"/>
                  </a:lnTo>
                  <a:lnTo>
                    <a:pt x="436" y="245"/>
                  </a:lnTo>
                  <a:lnTo>
                    <a:pt x="435" y="244"/>
                  </a:lnTo>
                  <a:lnTo>
                    <a:pt x="435" y="242"/>
                  </a:lnTo>
                  <a:lnTo>
                    <a:pt x="432" y="243"/>
                  </a:lnTo>
                  <a:lnTo>
                    <a:pt x="432" y="244"/>
                  </a:lnTo>
                  <a:lnTo>
                    <a:pt x="432" y="245"/>
                  </a:lnTo>
                  <a:lnTo>
                    <a:pt x="432" y="247"/>
                  </a:lnTo>
                  <a:lnTo>
                    <a:pt x="432" y="247"/>
                  </a:lnTo>
                  <a:lnTo>
                    <a:pt x="432" y="247"/>
                  </a:lnTo>
                  <a:lnTo>
                    <a:pt x="431" y="245"/>
                  </a:lnTo>
                  <a:lnTo>
                    <a:pt x="430" y="244"/>
                  </a:lnTo>
                  <a:lnTo>
                    <a:pt x="428" y="243"/>
                  </a:lnTo>
                  <a:lnTo>
                    <a:pt x="426" y="243"/>
                  </a:lnTo>
                  <a:lnTo>
                    <a:pt x="426" y="243"/>
                  </a:lnTo>
                  <a:lnTo>
                    <a:pt x="426" y="245"/>
                  </a:lnTo>
                  <a:lnTo>
                    <a:pt x="426" y="245"/>
                  </a:lnTo>
                  <a:lnTo>
                    <a:pt x="426" y="245"/>
                  </a:lnTo>
                  <a:lnTo>
                    <a:pt x="423" y="244"/>
                  </a:lnTo>
                  <a:lnTo>
                    <a:pt x="422" y="243"/>
                  </a:lnTo>
                  <a:lnTo>
                    <a:pt x="421" y="243"/>
                  </a:lnTo>
                  <a:lnTo>
                    <a:pt x="421" y="244"/>
                  </a:lnTo>
                  <a:lnTo>
                    <a:pt x="421" y="245"/>
                  </a:lnTo>
                  <a:lnTo>
                    <a:pt x="419" y="245"/>
                  </a:lnTo>
                  <a:lnTo>
                    <a:pt x="418" y="244"/>
                  </a:lnTo>
                  <a:lnTo>
                    <a:pt x="415" y="243"/>
                  </a:lnTo>
                  <a:lnTo>
                    <a:pt x="415" y="243"/>
                  </a:lnTo>
                  <a:lnTo>
                    <a:pt x="415" y="244"/>
                  </a:lnTo>
                  <a:lnTo>
                    <a:pt x="417" y="244"/>
                  </a:lnTo>
                  <a:lnTo>
                    <a:pt x="415" y="244"/>
                  </a:lnTo>
                  <a:lnTo>
                    <a:pt x="413" y="243"/>
                  </a:lnTo>
                  <a:lnTo>
                    <a:pt x="410" y="242"/>
                  </a:lnTo>
                  <a:lnTo>
                    <a:pt x="408" y="242"/>
                  </a:lnTo>
                  <a:lnTo>
                    <a:pt x="409" y="243"/>
                  </a:lnTo>
                  <a:lnTo>
                    <a:pt x="410" y="243"/>
                  </a:lnTo>
                  <a:lnTo>
                    <a:pt x="410" y="244"/>
                  </a:lnTo>
                  <a:lnTo>
                    <a:pt x="409" y="244"/>
                  </a:lnTo>
                  <a:lnTo>
                    <a:pt x="408" y="244"/>
                  </a:lnTo>
                  <a:lnTo>
                    <a:pt x="405" y="243"/>
                  </a:lnTo>
                  <a:lnTo>
                    <a:pt x="401" y="243"/>
                  </a:lnTo>
                  <a:lnTo>
                    <a:pt x="396" y="240"/>
                  </a:lnTo>
                  <a:lnTo>
                    <a:pt x="395" y="240"/>
                  </a:lnTo>
                  <a:lnTo>
                    <a:pt x="393" y="240"/>
                  </a:lnTo>
                  <a:lnTo>
                    <a:pt x="391" y="240"/>
                  </a:lnTo>
                  <a:lnTo>
                    <a:pt x="387" y="239"/>
                  </a:lnTo>
                  <a:lnTo>
                    <a:pt x="387" y="242"/>
                  </a:lnTo>
                  <a:lnTo>
                    <a:pt x="386" y="244"/>
                  </a:lnTo>
                  <a:lnTo>
                    <a:pt x="384" y="248"/>
                  </a:lnTo>
                  <a:lnTo>
                    <a:pt x="382" y="258"/>
                  </a:lnTo>
                  <a:lnTo>
                    <a:pt x="378" y="271"/>
                  </a:lnTo>
                  <a:lnTo>
                    <a:pt x="377" y="279"/>
                  </a:lnTo>
                  <a:lnTo>
                    <a:pt x="378" y="280"/>
                  </a:lnTo>
                  <a:lnTo>
                    <a:pt x="378" y="278"/>
                  </a:lnTo>
                  <a:lnTo>
                    <a:pt x="378" y="275"/>
                  </a:lnTo>
                  <a:lnTo>
                    <a:pt x="378" y="273"/>
                  </a:lnTo>
                  <a:lnTo>
                    <a:pt x="379" y="273"/>
                  </a:lnTo>
                  <a:lnTo>
                    <a:pt x="378" y="273"/>
                  </a:lnTo>
                  <a:lnTo>
                    <a:pt x="378" y="275"/>
                  </a:lnTo>
                  <a:lnTo>
                    <a:pt x="378" y="278"/>
                  </a:lnTo>
                  <a:lnTo>
                    <a:pt x="378" y="282"/>
                  </a:lnTo>
                  <a:lnTo>
                    <a:pt x="378" y="280"/>
                  </a:lnTo>
                  <a:lnTo>
                    <a:pt x="379" y="280"/>
                  </a:lnTo>
                  <a:lnTo>
                    <a:pt x="379" y="280"/>
                  </a:lnTo>
                  <a:lnTo>
                    <a:pt x="379" y="282"/>
                  </a:lnTo>
                  <a:lnTo>
                    <a:pt x="381" y="284"/>
                  </a:lnTo>
                  <a:lnTo>
                    <a:pt x="381" y="288"/>
                  </a:lnTo>
                  <a:lnTo>
                    <a:pt x="382" y="294"/>
                  </a:lnTo>
                  <a:lnTo>
                    <a:pt x="382" y="297"/>
                  </a:lnTo>
                  <a:lnTo>
                    <a:pt x="384" y="305"/>
                  </a:lnTo>
                  <a:lnTo>
                    <a:pt x="390" y="313"/>
                  </a:lnTo>
                  <a:lnTo>
                    <a:pt x="395" y="322"/>
                  </a:lnTo>
                  <a:lnTo>
                    <a:pt x="400" y="332"/>
                  </a:lnTo>
                  <a:lnTo>
                    <a:pt x="402" y="337"/>
                  </a:lnTo>
                  <a:lnTo>
                    <a:pt x="402" y="338"/>
                  </a:lnTo>
                  <a:lnTo>
                    <a:pt x="404" y="340"/>
                  </a:lnTo>
                  <a:lnTo>
                    <a:pt x="405" y="342"/>
                  </a:lnTo>
                  <a:lnTo>
                    <a:pt x="410" y="355"/>
                  </a:lnTo>
                  <a:lnTo>
                    <a:pt x="417" y="382"/>
                  </a:lnTo>
                  <a:lnTo>
                    <a:pt x="418" y="412"/>
                  </a:lnTo>
                  <a:lnTo>
                    <a:pt x="418" y="420"/>
                  </a:lnTo>
                  <a:lnTo>
                    <a:pt x="417" y="426"/>
                  </a:lnTo>
                  <a:lnTo>
                    <a:pt x="417" y="442"/>
                  </a:lnTo>
                  <a:lnTo>
                    <a:pt x="415" y="456"/>
                  </a:lnTo>
                  <a:lnTo>
                    <a:pt x="412" y="469"/>
                  </a:lnTo>
                  <a:lnTo>
                    <a:pt x="409" y="473"/>
                  </a:lnTo>
                  <a:lnTo>
                    <a:pt x="406" y="477"/>
                  </a:lnTo>
                  <a:lnTo>
                    <a:pt x="404" y="480"/>
                  </a:lnTo>
                  <a:lnTo>
                    <a:pt x="401" y="483"/>
                  </a:lnTo>
                  <a:lnTo>
                    <a:pt x="399" y="484"/>
                  </a:lnTo>
                  <a:lnTo>
                    <a:pt x="399" y="486"/>
                  </a:lnTo>
                  <a:lnTo>
                    <a:pt x="397" y="486"/>
                  </a:lnTo>
                  <a:lnTo>
                    <a:pt x="396" y="486"/>
                  </a:lnTo>
                  <a:lnTo>
                    <a:pt x="393" y="486"/>
                  </a:lnTo>
                  <a:lnTo>
                    <a:pt x="392" y="488"/>
                  </a:lnTo>
                  <a:lnTo>
                    <a:pt x="392" y="489"/>
                  </a:lnTo>
                  <a:lnTo>
                    <a:pt x="395" y="492"/>
                  </a:lnTo>
                  <a:lnTo>
                    <a:pt x="392" y="493"/>
                  </a:lnTo>
                  <a:lnTo>
                    <a:pt x="391" y="491"/>
                  </a:lnTo>
                  <a:lnTo>
                    <a:pt x="391" y="491"/>
                  </a:lnTo>
                  <a:lnTo>
                    <a:pt x="390" y="493"/>
                  </a:lnTo>
                  <a:lnTo>
                    <a:pt x="388" y="497"/>
                  </a:lnTo>
                  <a:lnTo>
                    <a:pt x="387" y="505"/>
                  </a:lnTo>
                  <a:lnTo>
                    <a:pt x="386" y="513"/>
                  </a:lnTo>
                  <a:lnTo>
                    <a:pt x="386" y="519"/>
                  </a:lnTo>
                  <a:lnTo>
                    <a:pt x="386" y="526"/>
                  </a:lnTo>
                  <a:lnTo>
                    <a:pt x="386" y="535"/>
                  </a:lnTo>
                  <a:lnTo>
                    <a:pt x="386" y="546"/>
                  </a:lnTo>
                  <a:lnTo>
                    <a:pt x="386" y="546"/>
                  </a:lnTo>
                  <a:lnTo>
                    <a:pt x="391" y="553"/>
                  </a:lnTo>
                  <a:lnTo>
                    <a:pt x="405" y="568"/>
                  </a:lnTo>
                  <a:lnTo>
                    <a:pt x="421" y="589"/>
                  </a:lnTo>
                  <a:lnTo>
                    <a:pt x="444" y="617"/>
                  </a:lnTo>
                  <a:lnTo>
                    <a:pt x="451" y="626"/>
                  </a:lnTo>
                  <a:lnTo>
                    <a:pt x="458" y="630"/>
                  </a:lnTo>
                  <a:lnTo>
                    <a:pt x="466" y="633"/>
                  </a:lnTo>
                  <a:lnTo>
                    <a:pt x="473" y="634"/>
                  </a:lnTo>
                  <a:lnTo>
                    <a:pt x="477" y="634"/>
                  </a:lnTo>
                  <a:lnTo>
                    <a:pt x="484" y="635"/>
                  </a:lnTo>
                  <a:lnTo>
                    <a:pt x="490" y="635"/>
                  </a:lnTo>
                  <a:lnTo>
                    <a:pt x="494" y="637"/>
                  </a:lnTo>
                  <a:lnTo>
                    <a:pt x="498" y="638"/>
                  </a:lnTo>
                  <a:lnTo>
                    <a:pt x="502" y="641"/>
                  </a:lnTo>
                  <a:lnTo>
                    <a:pt x="504" y="643"/>
                  </a:lnTo>
                  <a:lnTo>
                    <a:pt x="508" y="646"/>
                  </a:lnTo>
                  <a:lnTo>
                    <a:pt x="512" y="651"/>
                  </a:lnTo>
                  <a:lnTo>
                    <a:pt x="513" y="651"/>
                  </a:lnTo>
                  <a:lnTo>
                    <a:pt x="513" y="652"/>
                  </a:lnTo>
                  <a:lnTo>
                    <a:pt x="513" y="653"/>
                  </a:lnTo>
                  <a:lnTo>
                    <a:pt x="515" y="656"/>
                  </a:lnTo>
                  <a:lnTo>
                    <a:pt x="515" y="657"/>
                  </a:lnTo>
                  <a:lnTo>
                    <a:pt x="516" y="657"/>
                  </a:lnTo>
                  <a:lnTo>
                    <a:pt x="518" y="655"/>
                  </a:lnTo>
                  <a:lnTo>
                    <a:pt x="525" y="650"/>
                  </a:lnTo>
                  <a:lnTo>
                    <a:pt x="535" y="642"/>
                  </a:lnTo>
                  <a:lnTo>
                    <a:pt x="549" y="631"/>
                  </a:lnTo>
                  <a:lnTo>
                    <a:pt x="565" y="619"/>
                  </a:lnTo>
                  <a:lnTo>
                    <a:pt x="583" y="604"/>
                  </a:lnTo>
                  <a:lnTo>
                    <a:pt x="602" y="589"/>
                  </a:lnTo>
                  <a:lnTo>
                    <a:pt x="623" y="572"/>
                  </a:lnTo>
                  <a:lnTo>
                    <a:pt x="645" y="557"/>
                  </a:lnTo>
                  <a:lnTo>
                    <a:pt x="645" y="557"/>
                  </a:lnTo>
                  <a:lnTo>
                    <a:pt x="655" y="548"/>
                  </a:lnTo>
                  <a:lnTo>
                    <a:pt x="664" y="541"/>
                  </a:lnTo>
                  <a:lnTo>
                    <a:pt x="669" y="537"/>
                  </a:lnTo>
                  <a:lnTo>
                    <a:pt x="672" y="535"/>
                  </a:lnTo>
                  <a:lnTo>
                    <a:pt x="672" y="535"/>
                  </a:lnTo>
                  <a:lnTo>
                    <a:pt x="672" y="533"/>
                  </a:lnTo>
                  <a:lnTo>
                    <a:pt x="678" y="531"/>
                  </a:lnTo>
                  <a:lnTo>
                    <a:pt x="678" y="531"/>
                  </a:lnTo>
                  <a:lnTo>
                    <a:pt x="677" y="532"/>
                  </a:lnTo>
                  <a:lnTo>
                    <a:pt x="676" y="532"/>
                  </a:lnTo>
                  <a:lnTo>
                    <a:pt x="678" y="531"/>
                  </a:lnTo>
                  <a:lnTo>
                    <a:pt x="678" y="531"/>
                  </a:lnTo>
                  <a:lnTo>
                    <a:pt x="677" y="529"/>
                  </a:lnTo>
                  <a:lnTo>
                    <a:pt x="678" y="528"/>
                  </a:lnTo>
                  <a:lnTo>
                    <a:pt x="678" y="526"/>
                  </a:lnTo>
                  <a:lnTo>
                    <a:pt x="677" y="524"/>
                  </a:lnTo>
                  <a:lnTo>
                    <a:pt x="676" y="524"/>
                  </a:lnTo>
                  <a:lnTo>
                    <a:pt x="673" y="523"/>
                  </a:lnTo>
                  <a:lnTo>
                    <a:pt x="673" y="522"/>
                  </a:lnTo>
                  <a:lnTo>
                    <a:pt x="672" y="520"/>
                  </a:lnTo>
                  <a:lnTo>
                    <a:pt x="673" y="518"/>
                  </a:lnTo>
                  <a:lnTo>
                    <a:pt x="689" y="508"/>
                  </a:lnTo>
                  <a:lnTo>
                    <a:pt x="689" y="508"/>
                  </a:lnTo>
                  <a:lnTo>
                    <a:pt x="689" y="508"/>
                  </a:lnTo>
                  <a:lnTo>
                    <a:pt x="690" y="504"/>
                  </a:lnTo>
                  <a:lnTo>
                    <a:pt x="690" y="506"/>
                  </a:lnTo>
                  <a:lnTo>
                    <a:pt x="703" y="497"/>
                  </a:lnTo>
                  <a:lnTo>
                    <a:pt x="718" y="487"/>
                  </a:lnTo>
                  <a:lnTo>
                    <a:pt x="738" y="474"/>
                  </a:lnTo>
                  <a:lnTo>
                    <a:pt x="752" y="462"/>
                  </a:lnTo>
                  <a:lnTo>
                    <a:pt x="769" y="452"/>
                  </a:lnTo>
                  <a:lnTo>
                    <a:pt x="787" y="443"/>
                  </a:lnTo>
                  <a:lnTo>
                    <a:pt x="803" y="437"/>
                  </a:lnTo>
                  <a:lnTo>
                    <a:pt x="819" y="434"/>
                  </a:lnTo>
                  <a:lnTo>
                    <a:pt x="819" y="438"/>
                  </a:lnTo>
                  <a:lnTo>
                    <a:pt x="815" y="440"/>
                  </a:lnTo>
                  <a:lnTo>
                    <a:pt x="810" y="453"/>
                  </a:lnTo>
                  <a:lnTo>
                    <a:pt x="801" y="467"/>
                  </a:lnTo>
                  <a:lnTo>
                    <a:pt x="788" y="482"/>
                  </a:lnTo>
                  <a:lnTo>
                    <a:pt x="769" y="505"/>
                  </a:lnTo>
                  <a:lnTo>
                    <a:pt x="754" y="520"/>
                  </a:lnTo>
                  <a:lnTo>
                    <a:pt x="739" y="535"/>
                  </a:lnTo>
                  <a:lnTo>
                    <a:pt x="726" y="545"/>
                  </a:lnTo>
                  <a:lnTo>
                    <a:pt x="722" y="548"/>
                  </a:lnTo>
                  <a:lnTo>
                    <a:pt x="717" y="551"/>
                  </a:lnTo>
                  <a:lnTo>
                    <a:pt x="714" y="555"/>
                  </a:lnTo>
                  <a:lnTo>
                    <a:pt x="709" y="559"/>
                  </a:lnTo>
                  <a:lnTo>
                    <a:pt x="708" y="557"/>
                  </a:lnTo>
                  <a:lnTo>
                    <a:pt x="707" y="558"/>
                  </a:lnTo>
                  <a:lnTo>
                    <a:pt x="707" y="558"/>
                  </a:lnTo>
                  <a:lnTo>
                    <a:pt x="707" y="558"/>
                  </a:lnTo>
                  <a:lnTo>
                    <a:pt x="708" y="557"/>
                  </a:lnTo>
                  <a:lnTo>
                    <a:pt x="705" y="554"/>
                  </a:lnTo>
                  <a:lnTo>
                    <a:pt x="703" y="553"/>
                  </a:lnTo>
                  <a:lnTo>
                    <a:pt x="700" y="551"/>
                  </a:lnTo>
                  <a:lnTo>
                    <a:pt x="699" y="551"/>
                  </a:lnTo>
                  <a:lnTo>
                    <a:pt x="694" y="555"/>
                  </a:lnTo>
                  <a:lnTo>
                    <a:pt x="682" y="563"/>
                  </a:lnTo>
                  <a:lnTo>
                    <a:pt x="668" y="575"/>
                  </a:lnTo>
                  <a:lnTo>
                    <a:pt x="651" y="588"/>
                  </a:lnTo>
                  <a:lnTo>
                    <a:pt x="632" y="602"/>
                  </a:lnTo>
                  <a:lnTo>
                    <a:pt x="610" y="619"/>
                  </a:lnTo>
                  <a:lnTo>
                    <a:pt x="588" y="635"/>
                  </a:lnTo>
                  <a:lnTo>
                    <a:pt x="587" y="634"/>
                  </a:lnTo>
                  <a:lnTo>
                    <a:pt x="569" y="647"/>
                  </a:lnTo>
                  <a:lnTo>
                    <a:pt x="553" y="659"/>
                  </a:lnTo>
                  <a:lnTo>
                    <a:pt x="542" y="668"/>
                  </a:lnTo>
                  <a:lnTo>
                    <a:pt x="534" y="674"/>
                  </a:lnTo>
                  <a:lnTo>
                    <a:pt x="530" y="677"/>
                  </a:lnTo>
                  <a:lnTo>
                    <a:pt x="534" y="682"/>
                  </a:lnTo>
                  <a:lnTo>
                    <a:pt x="535" y="686"/>
                  </a:lnTo>
                  <a:lnTo>
                    <a:pt x="535" y="691"/>
                  </a:lnTo>
                  <a:lnTo>
                    <a:pt x="535" y="695"/>
                  </a:lnTo>
                  <a:lnTo>
                    <a:pt x="534" y="699"/>
                  </a:lnTo>
                  <a:lnTo>
                    <a:pt x="533" y="700"/>
                  </a:lnTo>
                  <a:lnTo>
                    <a:pt x="531" y="700"/>
                  </a:lnTo>
                  <a:lnTo>
                    <a:pt x="531" y="701"/>
                  </a:lnTo>
                  <a:lnTo>
                    <a:pt x="530" y="701"/>
                  </a:lnTo>
                  <a:lnTo>
                    <a:pt x="530" y="703"/>
                  </a:lnTo>
                  <a:lnTo>
                    <a:pt x="530" y="705"/>
                  </a:lnTo>
                  <a:lnTo>
                    <a:pt x="529" y="708"/>
                  </a:lnTo>
                  <a:lnTo>
                    <a:pt x="528" y="712"/>
                  </a:lnTo>
                  <a:lnTo>
                    <a:pt x="526" y="714"/>
                  </a:lnTo>
                  <a:lnTo>
                    <a:pt x="524" y="717"/>
                  </a:lnTo>
                  <a:lnTo>
                    <a:pt x="520" y="718"/>
                  </a:lnTo>
                  <a:lnTo>
                    <a:pt x="516" y="719"/>
                  </a:lnTo>
                  <a:lnTo>
                    <a:pt x="512" y="719"/>
                  </a:lnTo>
                  <a:lnTo>
                    <a:pt x="509" y="719"/>
                  </a:lnTo>
                  <a:lnTo>
                    <a:pt x="508" y="722"/>
                  </a:lnTo>
                  <a:lnTo>
                    <a:pt x="506" y="723"/>
                  </a:lnTo>
                  <a:lnTo>
                    <a:pt x="503" y="724"/>
                  </a:lnTo>
                  <a:lnTo>
                    <a:pt x="500" y="724"/>
                  </a:lnTo>
                  <a:lnTo>
                    <a:pt x="499" y="726"/>
                  </a:lnTo>
                  <a:lnTo>
                    <a:pt x="497" y="727"/>
                  </a:lnTo>
                  <a:lnTo>
                    <a:pt x="493" y="727"/>
                  </a:lnTo>
                  <a:lnTo>
                    <a:pt x="489" y="727"/>
                  </a:lnTo>
                  <a:lnTo>
                    <a:pt x="485" y="727"/>
                  </a:lnTo>
                  <a:lnTo>
                    <a:pt x="485" y="727"/>
                  </a:lnTo>
                  <a:lnTo>
                    <a:pt x="480" y="728"/>
                  </a:lnTo>
                  <a:lnTo>
                    <a:pt x="476" y="730"/>
                  </a:lnTo>
                  <a:lnTo>
                    <a:pt x="472" y="730"/>
                  </a:lnTo>
                  <a:lnTo>
                    <a:pt x="468" y="731"/>
                  </a:lnTo>
                  <a:lnTo>
                    <a:pt x="466" y="730"/>
                  </a:lnTo>
                  <a:lnTo>
                    <a:pt x="463" y="728"/>
                  </a:lnTo>
                  <a:lnTo>
                    <a:pt x="460" y="727"/>
                  </a:lnTo>
                  <a:lnTo>
                    <a:pt x="402" y="772"/>
                  </a:lnTo>
                  <a:lnTo>
                    <a:pt x="360" y="805"/>
                  </a:lnTo>
                  <a:lnTo>
                    <a:pt x="360" y="815"/>
                  </a:lnTo>
                  <a:lnTo>
                    <a:pt x="361" y="816"/>
                  </a:lnTo>
                  <a:lnTo>
                    <a:pt x="366" y="832"/>
                  </a:lnTo>
                  <a:lnTo>
                    <a:pt x="372" y="847"/>
                  </a:lnTo>
                  <a:lnTo>
                    <a:pt x="379" y="878"/>
                  </a:lnTo>
                  <a:lnTo>
                    <a:pt x="386" y="905"/>
                  </a:lnTo>
                  <a:lnTo>
                    <a:pt x="392" y="928"/>
                  </a:lnTo>
                  <a:lnTo>
                    <a:pt x="397" y="948"/>
                  </a:lnTo>
                  <a:lnTo>
                    <a:pt x="404" y="962"/>
                  </a:lnTo>
                  <a:lnTo>
                    <a:pt x="405" y="967"/>
                  </a:lnTo>
                  <a:lnTo>
                    <a:pt x="408" y="971"/>
                  </a:lnTo>
                  <a:lnTo>
                    <a:pt x="408" y="972"/>
                  </a:lnTo>
                  <a:lnTo>
                    <a:pt x="409" y="974"/>
                  </a:lnTo>
                  <a:lnTo>
                    <a:pt x="408" y="972"/>
                  </a:lnTo>
                  <a:lnTo>
                    <a:pt x="408" y="971"/>
                  </a:lnTo>
                  <a:lnTo>
                    <a:pt x="409" y="976"/>
                  </a:lnTo>
                  <a:lnTo>
                    <a:pt x="412" y="983"/>
                  </a:lnTo>
                  <a:lnTo>
                    <a:pt x="413" y="997"/>
                  </a:lnTo>
                  <a:lnTo>
                    <a:pt x="414" y="1012"/>
                  </a:lnTo>
                  <a:lnTo>
                    <a:pt x="413" y="1031"/>
                  </a:lnTo>
                  <a:lnTo>
                    <a:pt x="410" y="1051"/>
                  </a:lnTo>
                  <a:lnTo>
                    <a:pt x="406" y="1073"/>
                  </a:lnTo>
                  <a:lnTo>
                    <a:pt x="404" y="1098"/>
                  </a:lnTo>
                  <a:lnTo>
                    <a:pt x="399" y="1152"/>
                  </a:lnTo>
                  <a:lnTo>
                    <a:pt x="388" y="1211"/>
                  </a:lnTo>
                  <a:lnTo>
                    <a:pt x="374" y="1273"/>
                  </a:lnTo>
                  <a:lnTo>
                    <a:pt x="369" y="1306"/>
                  </a:lnTo>
                  <a:lnTo>
                    <a:pt x="366" y="1321"/>
                  </a:lnTo>
                  <a:lnTo>
                    <a:pt x="366" y="1329"/>
                  </a:lnTo>
                  <a:lnTo>
                    <a:pt x="365" y="1337"/>
                  </a:lnTo>
                  <a:lnTo>
                    <a:pt x="364" y="1366"/>
                  </a:lnTo>
                  <a:lnTo>
                    <a:pt x="364" y="1382"/>
                  </a:lnTo>
                  <a:lnTo>
                    <a:pt x="364" y="1396"/>
                  </a:lnTo>
                  <a:lnTo>
                    <a:pt x="366" y="1402"/>
                  </a:lnTo>
                  <a:lnTo>
                    <a:pt x="368" y="1409"/>
                  </a:lnTo>
                  <a:lnTo>
                    <a:pt x="370" y="1414"/>
                  </a:lnTo>
                  <a:lnTo>
                    <a:pt x="373" y="1417"/>
                  </a:lnTo>
                  <a:lnTo>
                    <a:pt x="374" y="1419"/>
                  </a:lnTo>
                  <a:lnTo>
                    <a:pt x="381" y="1426"/>
                  </a:lnTo>
                  <a:lnTo>
                    <a:pt x="387" y="1432"/>
                  </a:lnTo>
                  <a:lnTo>
                    <a:pt x="393" y="1437"/>
                  </a:lnTo>
                  <a:lnTo>
                    <a:pt x="414" y="1450"/>
                  </a:lnTo>
                  <a:lnTo>
                    <a:pt x="433" y="1462"/>
                  </a:lnTo>
                  <a:lnTo>
                    <a:pt x="442" y="1467"/>
                  </a:lnTo>
                  <a:lnTo>
                    <a:pt x="450" y="1472"/>
                  </a:lnTo>
                  <a:lnTo>
                    <a:pt x="453" y="1473"/>
                  </a:lnTo>
                  <a:lnTo>
                    <a:pt x="455" y="1473"/>
                  </a:lnTo>
                  <a:lnTo>
                    <a:pt x="459" y="1475"/>
                  </a:lnTo>
                  <a:lnTo>
                    <a:pt x="468" y="1476"/>
                  </a:lnTo>
                  <a:lnTo>
                    <a:pt x="484" y="1479"/>
                  </a:lnTo>
                  <a:lnTo>
                    <a:pt x="497" y="1482"/>
                  </a:lnTo>
                  <a:lnTo>
                    <a:pt x="500" y="1485"/>
                  </a:lnTo>
                  <a:lnTo>
                    <a:pt x="503" y="1486"/>
                  </a:lnTo>
                  <a:lnTo>
                    <a:pt x="506" y="1489"/>
                  </a:lnTo>
                  <a:lnTo>
                    <a:pt x="507" y="1493"/>
                  </a:lnTo>
                  <a:lnTo>
                    <a:pt x="507" y="1495"/>
                  </a:lnTo>
                  <a:lnTo>
                    <a:pt x="506" y="1497"/>
                  </a:lnTo>
                  <a:lnTo>
                    <a:pt x="506" y="1499"/>
                  </a:lnTo>
                  <a:lnTo>
                    <a:pt x="506" y="1502"/>
                  </a:lnTo>
                  <a:lnTo>
                    <a:pt x="504" y="1506"/>
                  </a:lnTo>
                  <a:lnTo>
                    <a:pt x="503" y="1508"/>
                  </a:lnTo>
                  <a:lnTo>
                    <a:pt x="502" y="1511"/>
                  </a:lnTo>
                  <a:lnTo>
                    <a:pt x="499" y="1512"/>
                  </a:lnTo>
                  <a:lnTo>
                    <a:pt x="497" y="1513"/>
                  </a:lnTo>
                  <a:lnTo>
                    <a:pt x="493" y="1515"/>
                  </a:lnTo>
                  <a:lnTo>
                    <a:pt x="490" y="1515"/>
                  </a:lnTo>
                  <a:lnTo>
                    <a:pt x="486" y="1517"/>
                  </a:lnTo>
                  <a:lnTo>
                    <a:pt x="481" y="1519"/>
                  </a:lnTo>
                  <a:lnTo>
                    <a:pt x="476" y="1520"/>
                  </a:lnTo>
                  <a:lnTo>
                    <a:pt x="472" y="1520"/>
                  </a:lnTo>
                  <a:lnTo>
                    <a:pt x="468" y="1519"/>
                  </a:lnTo>
                  <a:lnTo>
                    <a:pt x="466" y="1519"/>
                  </a:lnTo>
                  <a:lnTo>
                    <a:pt x="457" y="1520"/>
                  </a:lnTo>
                  <a:lnTo>
                    <a:pt x="448" y="1521"/>
                  </a:lnTo>
                  <a:lnTo>
                    <a:pt x="439" y="1521"/>
                  </a:lnTo>
                  <a:lnTo>
                    <a:pt x="428" y="1521"/>
                  </a:lnTo>
                  <a:lnTo>
                    <a:pt x="423" y="1521"/>
                  </a:lnTo>
                  <a:lnTo>
                    <a:pt x="418" y="1521"/>
                  </a:lnTo>
                  <a:lnTo>
                    <a:pt x="412" y="1521"/>
                  </a:lnTo>
                  <a:lnTo>
                    <a:pt x="406" y="1520"/>
                  </a:lnTo>
                  <a:lnTo>
                    <a:pt x="383" y="1511"/>
                  </a:lnTo>
                  <a:lnTo>
                    <a:pt x="372" y="1506"/>
                  </a:lnTo>
                  <a:lnTo>
                    <a:pt x="360" y="1504"/>
                  </a:lnTo>
                  <a:lnTo>
                    <a:pt x="353" y="1503"/>
                  </a:lnTo>
                  <a:lnTo>
                    <a:pt x="347" y="1504"/>
                  </a:lnTo>
                  <a:lnTo>
                    <a:pt x="342" y="1506"/>
                  </a:lnTo>
                  <a:lnTo>
                    <a:pt x="335" y="1508"/>
                  </a:lnTo>
                  <a:lnTo>
                    <a:pt x="326" y="1512"/>
                  </a:lnTo>
                  <a:lnTo>
                    <a:pt x="328" y="1513"/>
                  </a:lnTo>
                  <a:lnTo>
                    <a:pt x="328" y="1513"/>
                  </a:lnTo>
                  <a:lnTo>
                    <a:pt x="328" y="1513"/>
                  </a:lnTo>
                  <a:lnTo>
                    <a:pt x="326" y="1513"/>
                  </a:lnTo>
                  <a:lnTo>
                    <a:pt x="324" y="1513"/>
                  </a:lnTo>
                  <a:lnTo>
                    <a:pt x="324" y="1513"/>
                  </a:lnTo>
                  <a:lnTo>
                    <a:pt x="321" y="1513"/>
                  </a:lnTo>
                  <a:lnTo>
                    <a:pt x="323" y="1515"/>
                  </a:lnTo>
                  <a:lnTo>
                    <a:pt x="321" y="1515"/>
                  </a:lnTo>
                  <a:lnTo>
                    <a:pt x="319" y="1515"/>
                  </a:lnTo>
                  <a:lnTo>
                    <a:pt x="312" y="1516"/>
                  </a:lnTo>
                  <a:lnTo>
                    <a:pt x="302" y="1519"/>
                  </a:lnTo>
                  <a:lnTo>
                    <a:pt x="290" y="1517"/>
                  </a:lnTo>
                  <a:lnTo>
                    <a:pt x="285" y="1515"/>
                  </a:lnTo>
                  <a:lnTo>
                    <a:pt x="281" y="1512"/>
                  </a:lnTo>
                  <a:lnTo>
                    <a:pt x="277" y="1510"/>
                  </a:lnTo>
                  <a:lnTo>
                    <a:pt x="274" y="1507"/>
                  </a:lnTo>
                  <a:lnTo>
                    <a:pt x="270" y="1502"/>
                  </a:lnTo>
                  <a:lnTo>
                    <a:pt x="267" y="1498"/>
                  </a:lnTo>
                  <a:lnTo>
                    <a:pt x="265" y="1493"/>
                  </a:lnTo>
                  <a:lnTo>
                    <a:pt x="263" y="1486"/>
                  </a:lnTo>
                  <a:lnTo>
                    <a:pt x="263" y="1481"/>
                  </a:lnTo>
                  <a:lnTo>
                    <a:pt x="263" y="1477"/>
                  </a:lnTo>
                  <a:lnTo>
                    <a:pt x="265" y="1473"/>
                  </a:lnTo>
                  <a:lnTo>
                    <a:pt x="265" y="1472"/>
                  </a:lnTo>
                  <a:lnTo>
                    <a:pt x="265" y="1468"/>
                  </a:lnTo>
                  <a:lnTo>
                    <a:pt x="266" y="1462"/>
                  </a:lnTo>
                  <a:lnTo>
                    <a:pt x="267" y="1451"/>
                  </a:lnTo>
                  <a:lnTo>
                    <a:pt x="270" y="1440"/>
                  </a:lnTo>
                  <a:lnTo>
                    <a:pt x="275" y="1427"/>
                  </a:lnTo>
                  <a:lnTo>
                    <a:pt x="280" y="1411"/>
                  </a:lnTo>
                  <a:lnTo>
                    <a:pt x="293" y="1378"/>
                  </a:lnTo>
                  <a:lnTo>
                    <a:pt x="295" y="1373"/>
                  </a:lnTo>
                  <a:lnTo>
                    <a:pt x="297" y="1352"/>
                  </a:lnTo>
                  <a:lnTo>
                    <a:pt x="297" y="1352"/>
                  </a:lnTo>
                  <a:lnTo>
                    <a:pt x="297" y="1352"/>
                  </a:lnTo>
                  <a:lnTo>
                    <a:pt x="299" y="1298"/>
                  </a:lnTo>
                  <a:lnTo>
                    <a:pt x="299" y="1294"/>
                  </a:lnTo>
                  <a:lnTo>
                    <a:pt x="290" y="1246"/>
                  </a:lnTo>
                  <a:lnTo>
                    <a:pt x="281" y="1198"/>
                  </a:lnTo>
                  <a:lnTo>
                    <a:pt x="279" y="1175"/>
                  </a:lnTo>
                  <a:lnTo>
                    <a:pt x="277" y="1153"/>
                  </a:lnTo>
                  <a:lnTo>
                    <a:pt x="280" y="1131"/>
                  </a:lnTo>
                  <a:lnTo>
                    <a:pt x="281" y="1129"/>
                  </a:lnTo>
                  <a:lnTo>
                    <a:pt x="253" y="1162"/>
                  </a:lnTo>
                  <a:lnTo>
                    <a:pt x="237" y="1180"/>
                  </a:lnTo>
                  <a:lnTo>
                    <a:pt x="221" y="1202"/>
                  </a:lnTo>
                  <a:lnTo>
                    <a:pt x="201" y="1227"/>
                  </a:lnTo>
                  <a:lnTo>
                    <a:pt x="194" y="1236"/>
                  </a:lnTo>
                  <a:lnTo>
                    <a:pt x="191" y="1241"/>
                  </a:lnTo>
                  <a:lnTo>
                    <a:pt x="187" y="1246"/>
                  </a:lnTo>
                  <a:lnTo>
                    <a:pt x="181" y="1256"/>
                  </a:lnTo>
                  <a:lnTo>
                    <a:pt x="173" y="1264"/>
                  </a:lnTo>
                  <a:lnTo>
                    <a:pt x="161" y="1281"/>
                  </a:lnTo>
                  <a:lnTo>
                    <a:pt x="151" y="1297"/>
                  </a:lnTo>
                  <a:lnTo>
                    <a:pt x="145" y="1309"/>
                  </a:lnTo>
                  <a:lnTo>
                    <a:pt x="141" y="1320"/>
                  </a:lnTo>
                  <a:lnTo>
                    <a:pt x="141" y="1322"/>
                  </a:lnTo>
                  <a:lnTo>
                    <a:pt x="140" y="1325"/>
                  </a:lnTo>
                  <a:lnTo>
                    <a:pt x="141" y="1329"/>
                  </a:lnTo>
                  <a:lnTo>
                    <a:pt x="141" y="1333"/>
                  </a:lnTo>
                  <a:lnTo>
                    <a:pt x="141" y="1338"/>
                  </a:lnTo>
                  <a:lnTo>
                    <a:pt x="142" y="1353"/>
                  </a:lnTo>
                  <a:lnTo>
                    <a:pt x="145" y="1373"/>
                  </a:lnTo>
                  <a:lnTo>
                    <a:pt x="149" y="1391"/>
                  </a:lnTo>
                  <a:lnTo>
                    <a:pt x="152" y="1406"/>
                  </a:lnTo>
                  <a:lnTo>
                    <a:pt x="154" y="1410"/>
                  </a:lnTo>
                  <a:lnTo>
                    <a:pt x="155" y="1414"/>
                  </a:lnTo>
                  <a:lnTo>
                    <a:pt x="170" y="1433"/>
                  </a:lnTo>
                  <a:lnTo>
                    <a:pt x="186" y="1449"/>
                  </a:lnTo>
                  <a:lnTo>
                    <a:pt x="190" y="1453"/>
                  </a:lnTo>
                  <a:lnTo>
                    <a:pt x="195" y="1455"/>
                  </a:lnTo>
                  <a:lnTo>
                    <a:pt x="199" y="1457"/>
                  </a:lnTo>
                  <a:lnTo>
                    <a:pt x="199" y="1457"/>
                  </a:lnTo>
                  <a:lnTo>
                    <a:pt x="200" y="1457"/>
                  </a:lnTo>
                  <a:lnTo>
                    <a:pt x="200" y="1457"/>
                  </a:lnTo>
                  <a:lnTo>
                    <a:pt x="203" y="1457"/>
                  </a:lnTo>
                  <a:lnTo>
                    <a:pt x="205" y="1458"/>
                  </a:lnTo>
                  <a:lnTo>
                    <a:pt x="209" y="1459"/>
                  </a:lnTo>
                  <a:lnTo>
                    <a:pt x="213" y="1462"/>
                  </a:lnTo>
                  <a:lnTo>
                    <a:pt x="216" y="1464"/>
                  </a:lnTo>
                  <a:lnTo>
                    <a:pt x="218" y="1468"/>
                  </a:lnTo>
                  <a:lnTo>
                    <a:pt x="219" y="1472"/>
                  </a:lnTo>
                  <a:lnTo>
                    <a:pt x="219" y="1476"/>
                  </a:lnTo>
                  <a:lnTo>
                    <a:pt x="219" y="1480"/>
                  </a:lnTo>
                  <a:lnTo>
                    <a:pt x="217" y="1484"/>
                  </a:lnTo>
                  <a:lnTo>
                    <a:pt x="216" y="1485"/>
                  </a:lnTo>
                  <a:lnTo>
                    <a:pt x="213" y="1486"/>
                  </a:lnTo>
                  <a:lnTo>
                    <a:pt x="210" y="1488"/>
                  </a:lnTo>
                  <a:lnTo>
                    <a:pt x="208" y="1488"/>
                  </a:lnTo>
                  <a:lnTo>
                    <a:pt x="207" y="1486"/>
                  </a:lnTo>
                  <a:lnTo>
                    <a:pt x="204" y="1485"/>
                  </a:lnTo>
                  <a:lnTo>
                    <a:pt x="198" y="1488"/>
                  </a:lnTo>
                  <a:lnTo>
                    <a:pt x="190" y="1489"/>
                  </a:lnTo>
                  <a:lnTo>
                    <a:pt x="181" y="1490"/>
                  </a:lnTo>
                  <a:lnTo>
                    <a:pt x="176" y="1490"/>
                  </a:lnTo>
                  <a:lnTo>
                    <a:pt x="170" y="1490"/>
                  </a:lnTo>
                  <a:lnTo>
                    <a:pt x="159" y="1488"/>
                  </a:lnTo>
                  <a:lnTo>
                    <a:pt x="147" y="1485"/>
                  </a:lnTo>
                  <a:lnTo>
                    <a:pt x="142" y="1481"/>
                  </a:lnTo>
                  <a:lnTo>
                    <a:pt x="137" y="1477"/>
                  </a:lnTo>
                  <a:lnTo>
                    <a:pt x="132" y="1473"/>
                  </a:lnTo>
                  <a:lnTo>
                    <a:pt x="127" y="1468"/>
                  </a:lnTo>
                  <a:lnTo>
                    <a:pt x="119" y="1458"/>
                  </a:lnTo>
                  <a:lnTo>
                    <a:pt x="110" y="1449"/>
                  </a:lnTo>
                  <a:lnTo>
                    <a:pt x="103" y="1442"/>
                  </a:lnTo>
                  <a:lnTo>
                    <a:pt x="97" y="1437"/>
                  </a:lnTo>
                  <a:lnTo>
                    <a:pt x="89" y="1432"/>
                  </a:lnTo>
                  <a:lnTo>
                    <a:pt x="67" y="1419"/>
                  </a:lnTo>
                  <a:lnTo>
                    <a:pt x="48" y="1408"/>
                  </a:lnTo>
                  <a:lnTo>
                    <a:pt x="33" y="1396"/>
                  </a:lnTo>
                  <a:lnTo>
                    <a:pt x="26" y="1388"/>
                  </a:lnTo>
                  <a:lnTo>
                    <a:pt x="22" y="1382"/>
                  </a:lnTo>
                  <a:lnTo>
                    <a:pt x="20" y="1375"/>
                  </a:lnTo>
                  <a:lnTo>
                    <a:pt x="18" y="1370"/>
                  </a:lnTo>
                  <a:lnTo>
                    <a:pt x="18" y="1365"/>
                  </a:lnTo>
                  <a:lnTo>
                    <a:pt x="18" y="1362"/>
                  </a:lnTo>
                  <a:lnTo>
                    <a:pt x="18" y="1360"/>
                  </a:lnTo>
                  <a:lnTo>
                    <a:pt x="20" y="1360"/>
                  </a:lnTo>
                  <a:lnTo>
                    <a:pt x="18" y="1360"/>
                  </a:lnTo>
                  <a:lnTo>
                    <a:pt x="18" y="1362"/>
                  </a:lnTo>
                  <a:lnTo>
                    <a:pt x="20" y="1365"/>
                  </a:lnTo>
                  <a:lnTo>
                    <a:pt x="20" y="1370"/>
                  </a:lnTo>
                  <a:lnTo>
                    <a:pt x="20" y="1370"/>
                  </a:lnTo>
                  <a:lnTo>
                    <a:pt x="20" y="1370"/>
                  </a:lnTo>
                  <a:lnTo>
                    <a:pt x="20" y="1366"/>
                  </a:lnTo>
                  <a:lnTo>
                    <a:pt x="21" y="1360"/>
                  </a:lnTo>
                  <a:lnTo>
                    <a:pt x="23" y="1355"/>
                  </a:lnTo>
                  <a:lnTo>
                    <a:pt x="27" y="1348"/>
                  </a:lnTo>
                  <a:lnTo>
                    <a:pt x="33" y="1340"/>
                  </a:lnTo>
                  <a:lnTo>
                    <a:pt x="39" y="1334"/>
                  </a:lnTo>
                  <a:lnTo>
                    <a:pt x="44" y="1328"/>
                  </a:lnTo>
                  <a:lnTo>
                    <a:pt x="49" y="1321"/>
                  </a:lnTo>
                  <a:lnTo>
                    <a:pt x="52" y="1318"/>
                  </a:lnTo>
                  <a:lnTo>
                    <a:pt x="56" y="1315"/>
                  </a:lnTo>
                  <a:lnTo>
                    <a:pt x="61" y="1307"/>
                  </a:lnTo>
                  <a:lnTo>
                    <a:pt x="84" y="1273"/>
                  </a:lnTo>
                  <a:lnTo>
                    <a:pt x="109" y="1232"/>
                  </a:lnTo>
                  <a:lnTo>
                    <a:pt x="119" y="1209"/>
                  </a:lnTo>
                  <a:lnTo>
                    <a:pt x="127" y="1184"/>
                  </a:lnTo>
                  <a:lnTo>
                    <a:pt x="134" y="1157"/>
                  </a:lnTo>
                  <a:lnTo>
                    <a:pt x="138" y="1143"/>
                  </a:lnTo>
                  <a:lnTo>
                    <a:pt x="140" y="1136"/>
                  </a:lnTo>
                  <a:lnTo>
                    <a:pt x="142" y="1129"/>
                  </a:lnTo>
                  <a:lnTo>
                    <a:pt x="155" y="1103"/>
                  </a:lnTo>
                  <a:lnTo>
                    <a:pt x="170" y="1080"/>
                  </a:lnTo>
                  <a:lnTo>
                    <a:pt x="188" y="1059"/>
                  </a:lnTo>
                  <a:lnTo>
                    <a:pt x="192" y="1054"/>
                  </a:lnTo>
                  <a:lnTo>
                    <a:pt x="195" y="1051"/>
                  </a:lnTo>
                  <a:lnTo>
                    <a:pt x="196" y="1049"/>
                  </a:lnTo>
                  <a:lnTo>
                    <a:pt x="205" y="1040"/>
                  </a:lnTo>
                  <a:lnTo>
                    <a:pt x="221" y="1021"/>
                  </a:lnTo>
                  <a:lnTo>
                    <a:pt x="235" y="1003"/>
                  </a:lnTo>
                  <a:lnTo>
                    <a:pt x="241" y="994"/>
                  </a:lnTo>
                  <a:lnTo>
                    <a:pt x="244" y="989"/>
                  </a:lnTo>
                  <a:lnTo>
                    <a:pt x="244" y="987"/>
                  </a:lnTo>
                  <a:lnTo>
                    <a:pt x="244" y="984"/>
                  </a:lnTo>
                  <a:lnTo>
                    <a:pt x="244" y="981"/>
                  </a:lnTo>
                  <a:lnTo>
                    <a:pt x="243" y="978"/>
                  </a:lnTo>
                  <a:lnTo>
                    <a:pt x="241" y="967"/>
                  </a:lnTo>
                  <a:lnTo>
                    <a:pt x="240" y="954"/>
                  </a:lnTo>
                  <a:lnTo>
                    <a:pt x="239" y="947"/>
                  </a:lnTo>
                  <a:lnTo>
                    <a:pt x="234" y="923"/>
                  </a:lnTo>
                  <a:lnTo>
                    <a:pt x="225" y="910"/>
                  </a:lnTo>
                  <a:lnTo>
                    <a:pt x="181" y="944"/>
                  </a:lnTo>
                  <a:lnTo>
                    <a:pt x="141" y="975"/>
                  </a:lnTo>
                  <a:lnTo>
                    <a:pt x="109" y="998"/>
                  </a:lnTo>
                  <a:lnTo>
                    <a:pt x="83" y="1019"/>
                  </a:lnTo>
                  <a:lnTo>
                    <a:pt x="61" y="1036"/>
                  </a:lnTo>
                  <a:lnTo>
                    <a:pt x="49" y="1043"/>
                  </a:lnTo>
                  <a:lnTo>
                    <a:pt x="40" y="1050"/>
                  </a:lnTo>
                  <a:lnTo>
                    <a:pt x="35" y="1055"/>
                  </a:lnTo>
                  <a:lnTo>
                    <a:pt x="33" y="1052"/>
                  </a:lnTo>
                  <a:lnTo>
                    <a:pt x="27" y="1042"/>
                  </a:lnTo>
                  <a:lnTo>
                    <a:pt x="30" y="1041"/>
                  </a:lnTo>
                  <a:lnTo>
                    <a:pt x="30" y="1041"/>
                  </a:lnTo>
                  <a:lnTo>
                    <a:pt x="30" y="1041"/>
                  </a:lnTo>
                  <a:lnTo>
                    <a:pt x="35" y="1037"/>
                  </a:lnTo>
                  <a:lnTo>
                    <a:pt x="40" y="1033"/>
                  </a:lnTo>
                  <a:lnTo>
                    <a:pt x="47" y="1028"/>
                  </a:lnTo>
                  <a:lnTo>
                    <a:pt x="67" y="1012"/>
                  </a:lnTo>
                  <a:lnTo>
                    <a:pt x="93" y="992"/>
                  </a:lnTo>
                  <a:lnTo>
                    <a:pt x="123" y="969"/>
                  </a:lnTo>
                  <a:lnTo>
                    <a:pt x="151" y="947"/>
                  </a:lnTo>
                  <a:lnTo>
                    <a:pt x="181" y="923"/>
                  </a:lnTo>
                  <a:lnTo>
                    <a:pt x="214" y="896"/>
                  </a:lnTo>
                  <a:lnTo>
                    <a:pt x="198" y="877"/>
                  </a:lnTo>
                  <a:lnTo>
                    <a:pt x="176" y="847"/>
                  </a:lnTo>
                  <a:lnTo>
                    <a:pt x="156" y="819"/>
                  </a:lnTo>
                  <a:lnTo>
                    <a:pt x="163" y="843"/>
                  </a:lnTo>
                  <a:lnTo>
                    <a:pt x="151" y="825"/>
                  </a:lnTo>
                  <a:lnTo>
                    <a:pt x="143" y="810"/>
                  </a:lnTo>
                  <a:lnTo>
                    <a:pt x="145" y="825"/>
                  </a:lnTo>
                  <a:lnTo>
                    <a:pt x="142" y="811"/>
                  </a:lnTo>
                  <a:lnTo>
                    <a:pt x="138" y="794"/>
                  </a:lnTo>
                  <a:lnTo>
                    <a:pt x="136" y="788"/>
                  </a:lnTo>
                  <a:lnTo>
                    <a:pt x="134" y="788"/>
                  </a:lnTo>
                  <a:lnTo>
                    <a:pt x="133" y="788"/>
                  </a:lnTo>
                  <a:lnTo>
                    <a:pt x="133" y="788"/>
                  </a:lnTo>
                  <a:lnTo>
                    <a:pt x="132" y="789"/>
                  </a:lnTo>
                  <a:lnTo>
                    <a:pt x="132" y="790"/>
                  </a:lnTo>
                  <a:lnTo>
                    <a:pt x="132" y="792"/>
                  </a:lnTo>
                  <a:lnTo>
                    <a:pt x="130" y="793"/>
                  </a:lnTo>
                  <a:lnTo>
                    <a:pt x="130" y="792"/>
                  </a:lnTo>
                  <a:lnTo>
                    <a:pt x="129" y="808"/>
                  </a:lnTo>
                  <a:lnTo>
                    <a:pt x="121" y="805"/>
                  </a:lnTo>
                  <a:lnTo>
                    <a:pt x="118" y="795"/>
                  </a:lnTo>
                  <a:lnTo>
                    <a:pt x="114" y="784"/>
                  </a:lnTo>
                  <a:lnTo>
                    <a:pt x="114" y="771"/>
                  </a:lnTo>
                  <a:lnTo>
                    <a:pt x="115" y="755"/>
                  </a:lnTo>
                  <a:lnTo>
                    <a:pt x="116" y="740"/>
                  </a:lnTo>
                  <a:lnTo>
                    <a:pt x="120" y="724"/>
                  </a:lnTo>
                  <a:lnTo>
                    <a:pt x="119" y="719"/>
                  </a:lnTo>
                  <a:lnTo>
                    <a:pt x="115" y="748"/>
                  </a:lnTo>
                  <a:lnTo>
                    <a:pt x="114" y="743"/>
                  </a:lnTo>
                  <a:lnTo>
                    <a:pt x="112" y="737"/>
                  </a:lnTo>
                  <a:lnTo>
                    <a:pt x="114" y="731"/>
                  </a:lnTo>
                  <a:lnTo>
                    <a:pt x="114" y="710"/>
                  </a:lnTo>
                  <a:lnTo>
                    <a:pt x="120" y="690"/>
                  </a:lnTo>
                  <a:lnTo>
                    <a:pt x="128" y="669"/>
                  </a:lnTo>
                  <a:lnTo>
                    <a:pt x="128" y="669"/>
                  </a:lnTo>
                  <a:lnTo>
                    <a:pt x="128" y="669"/>
                  </a:lnTo>
                  <a:lnTo>
                    <a:pt x="130" y="665"/>
                  </a:lnTo>
                  <a:lnTo>
                    <a:pt x="130" y="665"/>
                  </a:lnTo>
                  <a:lnTo>
                    <a:pt x="130" y="662"/>
                  </a:lnTo>
                  <a:lnTo>
                    <a:pt x="125" y="638"/>
                  </a:lnTo>
                  <a:lnTo>
                    <a:pt x="114" y="675"/>
                  </a:lnTo>
                  <a:lnTo>
                    <a:pt x="105" y="706"/>
                  </a:lnTo>
                  <a:lnTo>
                    <a:pt x="96" y="739"/>
                  </a:lnTo>
                  <a:lnTo>
                    <a:pt x="85" y="771"/>
                  </a:lnTo>
                  <a:lnTo>
                    <a:pt x="85" y="775"/>
                  </a:lnTo>
                  <a:lnTo>
                    <a:pt x="92" y="788"/>
                  </a:lnTo>
                  <a:lnTo>
                    <a:pt x="97" y="801"/>
                  </a:lnTo>
                  <a:lnTo>
                    <a:pt x="97" y="810"/>
                  </a:lnTo>
                  <a:lnTo>
                    <a:pt x="94" y="817"/>
                  </a:lnTo>
                  <a:lnTo>
                    <a:pt x="91" y="824"/>
                  </a:lnTo>
                  <a:lnTo>
                    <a:pt x="85" y="830"/>
                  </a:lnTo>
                  <a:lnTo>
                    <a:pt x="87" y="834"/>
                  </a:lnTo>
                  <a:lnTo>
                    <a:pt x="88" y="838"/>
                  </a:lnTo>
                  <a:lnTo>
                    <a:pt x="88" y="842"/>
                  </a:lnTo>
                  <a:lnTo>
                    <a:pt x="88" y="845"/>
                  </a:lnTo>
                  <a:lnTo>
                    <a:pt x="87" y="850"/>
                  </a:lnTo>
                  <a:lnTo>
                    <a:pt x="84" y="855"/>
                  </a:lnTo>
                  <a:lnTo>
                    <a:pt x="83" y="864"/>
                  </a:lnTo>
                  <a:lnTo>
                    <a:pt x="78" y="869"/>
                  </a:lnTo>
                  <a:lnTo>
                    <a:pt x="71" y="872"/>
                  </a:lnTo>
                  <a:lnTo>
                    <a:pt x="63" y="873"/>
                  </a:lnTo>
                  <a:lnTo>
                    <a:pt x="53" y="872"/>
                  </a:lnTo>
                  <a:lnTo>
                    <a:pt x="44" y="872"/>
                  </a:lnTo>
                  <a:lnTo>
                    <a:pt x="38" y="870"/>
                  </a:lnTo>
                  <a:lnTo>
                    <a:pt x="31" y="865"/>
                  </a:lnTo>
                  <a:lnTo>
                    <a:pt x="27" y="864"/>
                  </a:lnTo>
                  <a:lnTo>
                    <a:pt x="18" y="860"/>
                  </a:lnTo>
                  <a:lnTo>
                    <a:pt x="11" y="857"/>
                  </a:lnTo>
                  <a:lnTo>
                    <a:pt x="5" y="855"/>
                  </a:lnTo>
                  <a:lnTo>
                    <a:pt x="2" y="848"/>
                  </a:lnTo>
                  <a:lnTo>
                    <a:pt x="0" y="838"/>
                  </a:lnTo>
                  <a:lnTo>
                    <a:pt x="0" y="830"/>
                  </a:lnTo>
                  <a:lnTo>
                    <a:pt x="3" y="820"/>
                  </a:lnTo>
                  <a:lnTo>
                    <a:pt x="5" y="808"/>
                  </a:lnTo>
                  <a:lnTo>
                    <a:pt x="4" y="806"/>
                  </a:lnTo>
                  <a:lnTo>
                    <a:pt x="4" y="803"/>
                  </a:lnTo>
                  <a:lnTo>
                    <a:pt x="5" y="799"/>
                  </a:lnTo>
                  <a:lnTo>
                    <a:pt x="5" y="795"/>
                  </a:lnTo>
                  <a:lnTo>
                    <a:pt x="14" y="780"/>
                  </a:lnTo>
                  <a:lnTo>
                    <a:pt x="26" y="763"/>
                  </a:lnTo>
                  <a:lnTo>
                    <a:pt x="36" y="748"/>
                  </a:lnTo>
                  <a:lnTo>
                    <a:pt x="36" y="748"/>
                  </a:lnTo>
                  <a:lnTo>
                    <a:pt x="39" y="744"/>
                  </a:lnTo>
                  <a:lnTo>
                    <a:pt x="40" y="734"/>
                  </a:lnTo>
                  <a:lnTo>
                    <a:pt x="43" y="700"/>
                  </a:lnTo>
                  <a:lnTo>
                    <a:pt x="47" y="668"/>
                  </a:lnTo>
                  <a:lnTo>
                    <a:pt x="49" y="638"/>
                  </a:lnTo>
                  <a:lnTo>
                    <a:pt x="51" y="607"/>
                  </a:lnTo>
                  <a:lnTo>
                    <a:pt x="53" y="576"/>
                  </a:lnTo>
                  <a:lnTo>
                    <a:pt x="53" y="568"/>
                  </a:lnTo>
                  <a:lnTo>
                    <a:pt x="56" y="563"/>
                  </a:lnTo>
                  <a:lnTo>
                    <a:pt x="57" y="560"/>
                  </a:lnTo>
                  <a:lnTo>
                    <a:pt x="58" y="558"/>
                  </a:lnTo>
                  <a:lnTo>
                    <a:pt x="57" y="553"/>
                  </a:lnTo>
                  <a:lnTo>
                    <a:pt x="65" y="528"/>
                  </a:lnTo>
                  <a:lnTo>
                    <a:pt x="78" y="508"/>
                  </a:lnTo>
                  <a:lnTo>
                    <a:pt x="85" y="489"/>
                  </a:lnTo>
                  <a:lnTo>
                    <a:pt x="96" y="473"/>
                  </a:lnTo>
                  <a:lnTo>
                    <a:pt x="107" y="460"/>
                  </a:lnTo>
                  <a:lnTo>
                    <a:pt x="102" y="462"/>
                  </a:lnTo>
                  <a:lnTo>
                    <a:pt x="97" y="465"/>
                  </a:lnTo>
                  <a:lnTo>
                    <a:pt x="106" y="439"/>
                  </a:lnTo>
                  <a:lnTo>
                    <a:pt x="119" y="416"/>
                  </a:lnTo>
                  <a:lnTo>
                    <a:pt x="133" y="393"/>
                  </a:lnTo>
                  <a:lnTo>
                    <a:pt x="146" y="368"/>
                  </a:lnTo>
                  <a:lnTo>
                    <a:pt x="154" y="344"/>
                  </a:lnTo>
                  <a:lnTo>
                    <a:pt x="158" y="327"/>
                  </a:lnTo>
                  <a:lnTo>
                    <a:pt x="164" y="311"/>
                  </a:lnTo>
                  <a:lnTo>
                    <a:pt x="173" y="296"/>
                  </a:lnTo>
                  <a:lnTo>
                    <a:pt x="186" y="284"/>
                  </a:lnTo>
                  <a:lnTo>
                    <a:pt x="199" y="276"/>
                  </a:lnTo>
                  <a:lnTo>
                    <a:pt x="214" y="269"/>
                  </a:lnTo>
                  <a:lnTo>
                    <a:pt x="222" y="248"/>
                  </a:lnTo>
                  <a:lnTo>
                    <a:pt x="231" y="230"/>
                  </a:lnTo>
                  <a:lnTo>
                    <a:pt x="236" y="220"/>
                  </a:lnTo>
                  <a:lnTo>
                    <a:pt x="243" y="208"/>
                  </a:lnTo>
                  <a:lnTo>
                    <a:pt x="246" y="203"/>
                  </a:lnTo>
                  <a:lnTo>
                    <a:pt x="248" y="200"/>
                  </a:lnTo>
                  <a:lnTo>
                    <a:pt x="250" y="196"/>
                  </a:lnTo>
                  <a:lnTo>
                    <a:pt x="261" y="173"/>
                  </a:lnTo>
                  <a:lnTo>
                    <a:pt x="263" y="167"/>
                  </a:lnTo>
                  <a:lnTo>
                    <a:pt x="263" y="161"/>
                  </a:lnTo>
                  <a:lnTo>
                    <a:pt x="259" y="168"/>
                  </a:lnTo>
                  <a:lnTo>
                    <a:pt x="256" y="172"/>
                  </a:lnTo>
                  <a:lnTo>
                    <a:pt x="253" y="176"/>
                  </a:lnTo>
                  <a:lnTo>
                    <a:pt x="250" y="178"/>
                  </a:lnTo>
                  <a:lnTo>
                    <a:pt x="249" y="180"/>
                  </a:lnTo>
                  <a:lnTo>
                    <a:pt x="248" y="180"/>
                  </a:lnTo>
                  <a:lnTo>
                    <a:pt x="253" y="170"/>
                  </a:lnTo>
                  <a:lnTo>
                    <a:pt x="256" y="165"/>
                  </a:lnTo>
                  <a:lnTo>
                    <a:pt x="258" y="159"/>
                  </a:lnTo>
                  <a:lnTo>
                    <a:pt x="259" y="154"/>
                  </a:lnTo>
                  <a:lnTo>
                    <a:pt x="261" y="142"/>
                  </a:lnTo>
                  <a:lnTo>
                    <a:pt x="265" y="129"/>
                  </a:lnTo>
                  <a:lnTo>
                    <a:pt x="266" y="127"/>
                  </a:lnTo>
                  <a:lnTo>
                    <a:pt x="268" y="116"/>
                  </a:lnTo>
                  <a:lnTo>
                    <a:pt x="267" y="119"/>
                  </a:lnTo>
                  <a:lnTo>
                    <a:pt x="267" y="120"/>
                  </a:lnTo>
                  <a:lnTo>
                    <a:pt x="266" y="121"/>
                  </a:lnTo>
                  <a:lnTo>
                    <a:pt x="266" y="120"/>
                  </a:lnTo>
                  <a:lnTo>
                    <a:pt x="267" y="118"/>
                  </a:lnTo>
                  <a:lnTo>
                    <a:pt x="265" y="129"/>
                  </a:lnTo>
                  <a:lnTo>
                    <a:pt x="261" y="142"/>
                  </a:lnTo>
                  <a:lnTo>
                    <a:pt x="257" y="152"/>
                  </a:lnTo>
                  <a:lnTo>
                    <a:pt x="256" y="156"/>
                  </a:lnTo>
                  <a:lnTo>
                    <a:pt x="254" y="160"/>
                  </a:lnTo>
                  <a:lnTo>
                    <a:pt x="253" y="161"/>
                  </a:lnTo>
                  <a:lnTo>
                    <a:pt x="253" y="161"/>
                  </a:lnTo>
                  <a:lnTo>
                    <a:pt x="254" y="152"/>
                  </a:lnTo>
                  <a:lnTo>
                    <a:pt x="256" y="146"/>
                  </a:lnTo>
                  <a:lnTo>
                    <a:pt x="257" y="139"/>
                  </a:lnTo>
                  <a:lnTo>
                    <a:pt x="256" y="142"/>
                  </a:lnTo>
                  <a:lnTo>
                    <a:pt x="256" y="142"/>
                  </a:lnTo>
                  <a:lnTo>
                    <a:pt x="256" y="141"/>
                  </a:lnTo>
                  <a:lnTo>
                    <a:pt x="256" y="138"/>
                  </a:lnTo>
                  <a:lnTo>
                    <a:pt x="257" y="133"/>
                  </a:lnTo>
                  <a:lnTo>
                    <a:pt x="257" y="127"/>
                  </a:lnTo>
                  <a:lnTo>
                    <a:pt x="259" y="118"/>
                  </a:lnTo>
                  <a:lnTo>
                    <a:pt x="253" y="130"/>
                  </a:lnTo>
                  <a:lnTo>
                    <a:pt x="252" y="110"/>
                  </a:lnTo>
                  <a:lnTo>
                    <a:pt x="252" y="97"/>
                  </a:lnTo>
                  <a:lnTo>
                    <a:pt x="254" y="83"/>
                  </a:lnTo>
                  <a:lnTo>
                    <a:pt x="253" y="80"/>
                  </a:lnTo>
                  <a:lnTo>
                    <a:pt x="253" y="78"/>
                  </a:lnTo>
                  <a:lnTo>
                    <a:pt x="253" y="74"/>
                  </a:lnTo>
                  <a:lnTo>
                    <a:pt x="254" y="70"/>
                  </a:lnTo>
                  <a:lnTo>
                    <a:pt x="257" y="65"/>
                  </a:lnTo>
                  <a:lnTo>
                    <a:pt x="261" y="61"/>
                  </a:lnTo>
                  <a:lnTo>
                    <a:pt x="265" y="57"/>
                  </a:lnTo>
                  <a:lnTo>
                    <a:pt x="270" y="53"/>
                  </a:lnTo>
                  <a:lnTo>
                    <a:pt x="274" y="49"/>
                  </a:lnTo>
                  <a:lnTo>
                    <a:pt x="279" y="45"/>
                  </a:lnTo>
                  <a:lnTo>
                    <a:pt x="285" y="40"/>
                  </a:lnTo>
                  <a:lnTo>
                    <a:pt x="292" y="37"/>
                  </a:lnTo>
                  <a:lnTo>
                    <a:pt x="293" y="35"/>
                  </a:lnTo>
                  <a:lnTo>
                    <a:pt x="289" y="35"/>
                  </a:lnTo>
                  <a:lnTo>
                    <a:pt x="285" y="35"/>
                  </a:lnTo>
                  <a:lnTo>
                    <a:pt x="283" y="35"/>
                  </a:lnTo>
                  <a:lnTo>
                    <a:pt x="281" y="34"/>
                  </a:lnTo>
                  <a:lnTo>
                    <a:pt x="281" y="34"/>
                  </a:lnTo>
                  <a:lnTo>
                    <a:pt x="281" y="34"/>
                  </a:lnTo>
                  <a:lnTo>
                    <a:pt x="284" y="34"/>
                  </a:lnTo>
                  <a:lnTo>
                    <a:pt x="285" y="34"/>
                  </a:lnTo>
                  <a:lnTo>
                    <a:pt x="289" y="32"/>
                  </a:lnTo>
                  <a:lnTo>
                    <a:pt x="293" y="31"/>
                  </a:lnTo>
                  <a:lnTo>
                    <a:pt x="298" y="30"/>
                  </a:lnTo>
                  <a:lnTo>
                    <a:pt x="302" y="27"/>
                  </a:lnTo>
                  <a:lnTo>
                    <a:pt x="307" y="26"/>
                  </a:lnTo>
                  <a:lnTo>
                    <a:pt x="312" y="26"/>
                  </a:lnTo>
                  <a:lnTo>
                    <a:pt x="319" y="26"/>
                  </a:lnTo>
                  <a:lnTo>
                    <a:pt x="317" y="25"/>
                  </a:lnTo>
                  <a:lnTo>
                    <a:pt x="314" y="25"/>
                  </a:lnTo>
                  <a:lnTo>
                    <a:pt x="310" y="23"/>
                  </a:lnTo>
                  <a:lnTo>
                    <a:pt x="310" y="25"/>
                  </a:lnTo>
                  <a:lnTo>
                    <a:pt x="306" y="25"/>
                  </a:lnTo>
                  <a:lnTo>
                    <a:pt x="305" y="26"/>
                  </a:lnTo>
                  <a:lnTo>
                    <a:pt x="303" y="26"/>
                  </a:lnTo>
                  <a:lnTo>
                    <a:pt x="305" y="25"/>
                  </a:lnTo>
                  <a:lnTo>
                    <a:pt x="301" y="26"/>
                  </a:lnTo>
                  <a:lnTo>
                    <a:pt x="299" y="27"/>
                  </a:lnTo>
                  <a:lnTo>
                    <a:pt x="298" y="27"/>
                  </a:lnTo>
                  <a:lnTo>
                    <a:pt x="298" y="27"/>
                  </a:lnTo>
                  <a:lnTo>
                    <a:pt x="299" y="26"/>
                  </a:lnTo>
                  <a:lnTo>
                    <a:pt x="301" y="23"/>
                  </a:lnTo>
                  <a:lnTo>
                    <a:pt x="305" y="22"/>
                  </a:lnTo>
                  <a:lnTo>
                    <a:pt x="307" y="21"/>
                  </a:lnTo>
                  <a:lnTo>
                    <a:pt x="312" y="19"/>
                  </a:lnTo>
                  <a:lnTo>
                    <a:pt x="315" y="18"/>
                  </a:lnTo>
                  <a:lnTo>
                    <a:pt x="319" y="17"/>
                  </a:lnTo>
                  <a:lnTo>
                    <a:pt x="323" y="17"/>
                  </a:lnTo>
                  <a:lnTo>
                    <a:pt x="326" y="17"/>
                  </a:lnTo>
                  <a:lnTo>
                    <a:pt x="330" y="18"/>
                  </a:lnTo>
                  <a:lnTo>
                    <a:pt x="332" y="16"/>
                  </a:lnTo>
                  <a:lnTo>
                    <a:pt x="333" y="13"/>
                  </a:lnTo>
                  <a:lnTo>
                    <a:pt x="334" y="13"/>
                  </a:lnTo>
                  <a:lnTo>
                    <a:pt x="335" y="13"/>
                  </a:lnTo>
                  <a:lnTo>
                    <a:pt x="335" y="13"/>
                  </a:lnTo>
                  <a:lnTo>
                    <a:pt x="334" y="14"/>
                  </a:lnTo>
                  <a:lnTo>
                    <a:pt x="334" y="16"/>
                  </a:lnTo>
                  <a:lnTo>
                    <a:pt x="334" y="18"/>
                  </a:lnTo>
                  <a:lnTo>
                    <a:pt x="337" y="18"/>
                  </a:lnTo>
                  <a:lnTo>
                    <a:pt x="338" y="17"/>
                  </a:lnTo>
                  <a:lnTo>
                    <a:pt x="339" y="10"/>
                  </a:lnTo>
                  <a:lnTo>
                    <a:pt x="342" y="6"/>
                  </a:lnTo>
                  <a:lnTo>
                    <a:pt x="346" y="4"/>
                  </a:lnTo>
                  <a:lnTo>
                    <a:pt x="348" y="1"/>
                  </a:lnTo>
                  <a:lnTo>
                    <a:pt x="350" y="1"/>
                  </a:lnTo>
                  <a:lnTo>
                    <a:pt x="351" y="0"/>
                  </a:ln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896386"/>
              <a:endParaRPr lang="en-US" kern="0" dirty="0">
                <a:solidFill>
                  <a:sysClr val="windowText" lastClr="000000"/>
                </a:solidFill>
              </a:endParaRPr>
            </a:p>
          </p:txBody>
        </p:sp>
        <p:sp>
          <p:nvSpPr>
            <p:cNvPr id="60" name="Freeform 327"/>
            <p:cNvSpPr>
              <a:spLocks noEditPoints="1"/>
            </p:cNvSpPr>
            <p:nvPr/>
          </p:nvSpPr>
          <p:spPr bwMode="auto">
            <a:xfrm>
              <a:off x="1203066" y="2026255"/>
              <a:ext cx="709678" cy="902151"/>
            </a:xfrm>
            <a:custGeom>
              <a:avLst/>
              <a:gdLst>
                <a:gd name="T0" fmla="*/ 43 w 660"/>
                <a:gd name="T1" fmla="*/ 392 h 839"/>
                <a:gd name="T2" fmla="*/ 22 w 660"/>
                <a:gd name="T3" fmla="*/ 381 h 839"/>
                <a:gd name="T4" fmla="*/ 393 w 660"/>
                <a:gd name="T5" fmla="*/ 387 h 839"/>
                <a:gd name="T6" fmla="*/ 543 w 660"/>
                <a:gd name="T7" fmla="*/ 2 h 839"/>
                <a:gd name="T8" fmla="*/ 642 w 660"/>
                <a:gd name="T9" fmla="*/ 117 h 839"/>
                <a:gd name="T10" fmla="*/ 638 w 660"/>
                <a:gd name="T11" fmla="*/ 188 h 839"/>
                <a:gd name="T12" fmla="*/ 580 w 660"/>
                <a:gd name="T13" fmla="*/ 200 h 839"/>
                <a:gd name="T14" fmla="*/ 545 w 660"/>
                <a:gd name="T15" fmla="*/ 226 h 839"/>
                <a:gd name="T16" fmla="*/ 532 w 660"/>
                <a:gd name="T17" fmla="*/ 274 h 839"/>
                <a:gd name="T18" fmla="*/ 514 w 660"/>
                <a:gd name="T19" fmla="*/ 293 h 839"/>
                <a:gd name="T20" fmla="*/ 508 w 660"/>
                <a:gd name="T21" fmla="*/ 328 h 839"/>
                <a:gd name="T22" fmla="*/ 503 w 660"/>
                <a:gd name="T23" fmla="*/ 359 h 839"/>
                <a:gd name="T24" fmla="*/ 494 w 660"/>
                <a:gd name="T25" fmla="*/ 361 h 839"/>
                <a:gd name="T26" fmla="*/ 489 w 660"/>
                <a:gd name="T27" fmla="*/ 385 h 839"/>
                <a:gd name="T28" fmla="*/ 481 w 660"/>
                <a:gd name="T29" fmla="*/ 421 h 839"/>
                <a:gd name="T30" fmla="*/ 492 w 660"/>
                <a:gd name="T31" fmla="*/ 462 h 839"/>
                <a:gd name="T32" fmla="*/ 522 w 660"/>
                <a:gd name="T33" fmla="*/ 533 h 839"/>
                <a:gd name="T34" fmla="*/ 589 w 660"/>
                <a:gd name="T35" fmla="*/ 631 h 839"/>
                <a:gd name="T36" fmla="*/ 570 w 660"/>
                <a:gd name="T37" fmla="*/ 686 h 839"/>
                <a:gd name="T38" fmla="*/ 520 w 660"/>
                <a:gd name="T39" fmla="*/ 675 h 839"/>
                <a:gd name="T40" fmla="*/ 478 w 660"/>
                <a:gd name="T41" fmla="*/ 577 h 839"/>
                <a:gd name="T42" fmla="*/ 463 w 660"/>
                <a:gd name="T43" fmla="*/ 568 h 839"/>
                <a:gd name="T44" fmla="*/ 472 w 660"/>
                <a:gd name="T45" fmla="*/ 617 h 839"/>
                <a:gd name="T46" fmla="*/ 459 w 660"/>
                <a:gd name="T47" fmla="*/ 633 h 839"/>
                <a:gd name="T48" fmla="*/ 447 w 660"/>
                <a:gd name="T49" fmla="*/ 643 h 839"/>
                <a:gd name="T50" fmla="*/ 440 w 660"/>
                <a:gd name="T51" fmla="*/ 670 h 839"/>
                <a:gd name="T52" fmla="*/ 440 w 660"/>
                <a:gd name="T53" fmla="*/ 706 h 839"/>
                <a:gd name="T54" fmla="*/ 423 w 660"/>
                <a:gd name="T55" fmla="*/ 708 h 839"/>
                <a:gd name="T56" fmla="*/ 545 w 660"/>
                <a:gd name="T57" fmla="*/ 806 h 839"/>
                <a:gd name="T58" fmla="*/ 434 w 660"/>
                <a:gd name="T59" fmla="*/ 812 h 839"/>
                <a:gd name="T60" fmla="*/ 351 w 660"/>
                <a:gd name="T61" fmla="*/ 634 h 839"/>
                <a:gd name="T62" fmla="*/ 333 w 660"/>
                <a:gd name="T63" fmla="*/ 536 h 839"/>
                <a:gd name="T64" fmla="*/ 312 w 660"/>
                <a:gd name="T65" fmla="*/ 510 h 839"/>
                <a:gd name="T66" fmla="*/ 316 w 660"/>
                <a:gd name="T67" fmla="*/ 546 h 839"/>
                <a:gd name="T68" fmla="*/ 308 w 660"/>
                <a:gd name="T69" fmla="*/ 553 h 839"/>
                <a:gd name="T70" fmla="*/ 299 w 660"/>
                <a:gd name="T71" fmla="*/ 578 h 839"/>
                <a:gd name="T72" fmla="*/ 289 w 660"/>
                <a:gd name="T73" fmla="*/ 620 h 839"/>
                <a:gd name="T74" fmla="*/ 276 w 660"/>
                <a:gd name="T75" fmla="*/ 634 h 839"/>
                <a:gd name="T76" fmla="*/ 262 w 660"/>
                <a:gd name="T77" fmla="*/ 631 h 839"/>
                <a:gd name="T78" fmla="*/ 242 w 660"/>
                <a:gd name="T79" fmla="*/ 657 h 839"/>
                <a:gd name="T80" fmla="*/ 226 w 660"/>
                <a:gd name="T81" fmla="*/ 662 h 839"/>
                <a:gd name="T82" fmla="*/ 205 w 660"/>
                <a:gd name="T83" fmla="*/ 691 h 839"/>
                <a:gd name="T84" fmla="*/ 189 w 660"/>
                <a:gd name="T85" fmla="*/ 702 h 839"/>
                <a:gd name="T86" fmla="*/ 171 w 660"/>
                <a:gd name="T87" fmla="*/ 719 h 839"/>
                <a:gd name="T88" fmla="*/ 159 w 660"/>
                <a:gd name="T89" fmla="*/ 732 h 839"/>
                <a:gd name="T90" fmla="*/ 139 w 660"/>
                <a:gd name="T91" fmla="*/ 744 h 839"/>
                <a:gd name="T92" fmla="*/ 205 w 660"/>
                <a:gd name="T93" fmla="*/ 824 h 839"/>
                <a:gd name="T94" fmla="*/ 89 w 660"/>
                <a:gd name="T95" fmla="*/ 815 h 839"/>
                <a:gd name="T96" fmla="*/ 48 w 660"/>
                <a:gd name="T97" fmla="*/ 808 h 839"/>
                <a:gd name="T98" fmla="*/ 119 w 660"/>
                <a:gd name="T99" fmla="*/ 643 h 839"/>
                <a:gd name="T100" fmla="*/ 156 w 660"/>
                <a:gd name="T101" fmla="*/ 593 h 839"/>
                <a:gd name="T102" fmla="*/ 180 w 660"/>
                <a:gd name="T103" fmla="*/ 571 h 839"/>
                <a:gd name="T104" fmla="*/ 150 w 660"/>
                <a:gd name="T105" fmla="*/ 460 h 839"/>
                <a:gd name="T106" fmla="*/ 129 w 660"/>
                <a:gd name="T107" fmla="*/ 425 h 839"/>
                <a:gd name="T108" fmla="*/ 193 w 660"/>
                <a:gd name="T109" fmla="*/ 191 h 839"/>
                <a:gd name="T110" fmla="*/ 148 w 660"/>
                <a:gd name="T111" fmla="*/ 204 h 839"/>
                <a:gd name="T112" fmla="*/ 18 w 660"/>
                <a:gd name="T113" fmla="*/ 386 h 839"/>
                <a:gd name="T114" fmla="*/ 73 w 660"/>
                <a:gd name="T115" fmla="*/ 303 h 839"/>
                <a:gd name="T116" fmla="*/ 59 w 660"/>
                <a:gd name="T117" fmla="*/ 146 h 839"/>
                <a:gd name="T118" fmla="*/ 125 w 660"/>
                <a:gd name="T119" fmla="*/ 79 h 839"/>
                <a:gd name="T120" fmla="*/ 161 w 660"/>
                <a:gd name="T121" fmla="*/ 88 h 839"/>
                <a:gd name="T122" fmla="*/ 258 w 660"/>
                <a:gd name="T123" fmla="*/ 84 h 839"/>
                <a:gd name="T124" fmla="*/ 405 w 660"/>
                <a:gd name="T125" fmla="*/ 41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839">
                  <a:moveTo>
                    <a:pt x="278" y="586"/>
                  </a:moveTo>
                  <a:lnTo>
                    <a:pt x="277" y="586"/>
                  </a:lnTo>
                  <a:lnTo>
                    <a:pt x="278" y="587"/>
                  </a:lnTo>
                  <a:lnTo>
                    <a:pt x="278" y="586"/>
                  </a:lnTo>
                  <a:lnTo>
                    <a:pt x="278" y="586"/>
                  </a:lnTo>
                  <a:close/>
                  <a:moveTo>
                    <a:pt x="549" y="577"/>
                  </a:moveTo>
                  <a:lnTo>
                    <a:pt x="550" y="578"/>
                  </a:lnTo>
                  <a:lnTo>
                    <a:pt x="552" y="580"/>
                  </a:lnTo>
                  <a:lnTo>
                    <a:pt x="549" y="577"/>
                  </a:lnTo>
                  <a:close/>
                  <a:moveTo>
                    <a:pt x="349" y="540"/>
                  </a:moveTo>
                  <a:lnTo>
                    <a:pt x="349" y="542"/>
                  </a:lnTo>
                  <a:lnTo>
                    <a:pt x="349" y="549"/>
                  </a:lnTo>
                  <a:lnTo>
                    <a:pt x="348" y="555"/>
                  </a:lnTo>
                  <a:lnTo>
                    <a:pt x="348" y="559"/>
                  </a:lnTo>
                  <a:lnTo>
                    <a:pt x="348" y="563"/>
                  </a:lnTo>
                  <a:lnTo>
                    <a:pt x="351" y="554"/>
                  </a:lnTo>
                  <a:lnTo>
                    <a:pt x="349" y="540"/>
                  </a:lnTo>
                  <a:close/>
                  <a:moveTo>
                    <a:pt x="443" y="513"/>
                  </a:moveTo>
                  <a:lnTo>
                    <a:pt x="443" y="513"/>
                  </a:lnTo>
                  <a:lnTo>
                    <a:pt x="450" y="522"/>
                  </a:lnTo>
                  <a:lnTo>
                    <a:pt x="454" y="525"/>
                  </a:lnTo>
                  <a:lnTo>
                    <a:pt x="458" y="531"/>
                  </a:lnTo>
                  <a:lnTo>
                    <a:pt x="459" y="531"/>
                  </a:lnTo>
                  <a:lnTo>
                    <a:pt x="459" y="531"/>
                  </a:lnTo>
                  <a:lnTo>
                    <a:pt x="456" y="527"/>
                  </a:lnTo>
                  <a:lnTo>
                    <a:pt x="451" y="522"/>
                  </a:lnTo>
                  <a:lnTo>
                    <a:pt x="445" y="515"/>
                  </a:lnTo>
                  <a:lnTo>
                    <a:pt x="443" y="513"/>
                  </a:lnTo>
                  <a:close/>
                  <a:moveTo>
                    <a:pt x="340" y="510"/>
                  </a:moveTo>
                  <a:lnTo>
                    <a:pt x="340" y="511"/>
                  </a:lnTo>
                  <a:lnTo>
                    <a:pt x="342" y="523"/>
                  </a:lnTo>
                  <a:lnTo>
                    <a:pt x="342" y="531"/>
                  </a:lnTo>
                  <a:lnTo>
                    <a:pt x="342" y="534"/>
                  </a:lnTo>
                  <a:lnTo>
                    <a:pt x="342" y="529"/>
                  </a:lnTo>
                  <a:lnTo>
                    <a:pt x="342" y="515"/>
                  </a:lnTo>
                  <a:lnTo>
                    <a:pt x="342" y="513"/>
                  </a:lnTo>
                  <a:lnTo>
                    <a:pt x="342" y="513"/>
                  </a:lnTo>
                  <a:lnTo>
                    <a:pt x="342" y="511"/>
                  </a:lnTo>
                  <a:lnTo>
                    <a:pt x="340" y="510"/>
                  </a:lnTo>
                  <a:close/>
                  <a:moveTo>
                    <a:pt x="41" y="392"/>
                  </a:moveTo>
                  <a:lnTo>
                    <a:pt x="39" y="392"/>
                  </a:lnTo>
                  <a:lnTo>
                    <a:pt x="43" y="394"/>
                  </a:lnTo>
                  <a:lnTo>
                    <a:pt x="43" y="392"/>
                  </a:lnTo>
                  <a:lnTo>
                    <a:pt x="43" y="392"/>
                  </a:lnTo>
                  <a:lnTo>
                    <a:pt x="41" y="392"/>
                  </a:lnTo>
                  <a:close/>
                  <a:moveTo>
                    <a:pt x="27" y="387"/>
                  </a:moveTo>
                  <a:lnTo>
                    <a:pt x="27" y="387"/>
                  </a:lnTo>
                  <a:lnTo>
                    <a:pt x="30" y="387"/>
                  </a:lnTo>
                  <a:lnTo>
                    <a:pt x="27" y="387"/>
                  </a:lnTo>
                  <a:close/>
                  <a:moveTo>
                    <a:pt x="24" y="386"/>
                  </a:moveTo>
                  <a:lnTo>
                    <a:pt x="22" y="386"/>
                  </a:lnTo>
                  <a:lnTo>
                    <a:pt x="24" y="386"/>
                  </a:lnTo>
                  <a:lnTo>
                    <a:pt x="24" y="386"/>
                  </a:lnTo>
                  <a:close/>
                  <a:moveTo>
                    <a:pt x="26" y="386"/>
                  </a:moveTo>
                  <a:lnTo>
                    <a:pt x="24" y="386"/>
                  </a:lnTo>
                  <a:lnTo>
                    <a:pt x="26" y="386"/>
                  </a:lnTo>
                  <a:lnTo>
                    <a:pt x="26" y="386"/>
                  </a:lnTo>
                  <a:lnTo>
                    <a:pt x="26" y="386"/>
                  </a:lnTo>
                  <a:close/>
                  <a:moveTo>
                    <a:pt x="34" y="385"/>
                  </a:moveTo>
                  <a:lnTo>
                    <a:pt x="32" y="385"/>
                  </a:lnTo>
                  <a:lnTo>
                    <a:pt x="35" y="386"/>
                  </a:lnTo>
                  <a:lnTo>
                    <a:pt x="34" y="385"/>
                  </a:lnTo>
                  <a:close/>
                  <a:moveTo>
                    <a:pt x="22" y="383"/>
                  </a:moveTo>
                  <a:lnTo>
                    <a:pt x="21" y="385"/>
                  </a:lnTo>
                  <a:lnTo>
                    <a:pt x="21" y="385"/>
                  </a:lnTo>
                  <a:lnTo>
                    <a:pt x="23" y="383"/>
                  </a:lnTo>
                  <a:lnTo>
                    <a:pt x="22" y="383"/>
                  </a:lnTo>
                  <a:close/>
                  <a:moveTo>
                    <a:pt x="32" y="383"/>
                  </a:moveTo>
                  <a:lnTo>
                    <a:pt x="31" y="385"/>
                  </a:lnTo>
                  <a:lnTo>
                    <a:pt x="32" y="385"/>
                  </a:lnTo>
                  <a:lnTo>
                    <a:pt x="34" y="385"/>
                  </a:lnTo>
                  <a:lnTo>
                    <a:pt x="32" y="383"/>
                  </a:lnTo>
                  <a:close/>
                  <a:moveTo>
                    <a:pt x="22" y="383"/>
                  </a:moveTo>
                  <a:lnTo>
                    <a:pt x="22" y="383"/>
                  </a:lnTo>
                  <a:lnTo>
                    <a:pt x="19" y="383"/>
                  </a:lnTo>
                  <a:lnTo>
                    <a:pt x="19" y="385"/>
                  </a:lnTo>
                  <a:lnTo>
                    <a:pt x="21" y="385"/>
                  </a:lnTo>
                  <a:lnTo>
                    <a:pt x="22" y="383"/>
                  </a:lnTo>
                  <a:lnTo>
                    <a:pt x="22" y="383"/>
                  </a:lnTo>
                  <a:lnTo>
                    <a:pt x="22" y="383"/>
                  </a:lnTo>
                  <a:close/>
                  <a:moveTo>
                    <a:pt x="21" y="382"/>
                  </a:moveTo>
                  <a:lnTo>
                    <a:pt x="21" y="382"/>
                  </a:lnTo>
                  <a:lnTo>
                    <a:pt x="21" y="383"/>
                  </a:lnTo>
                  <a:lnTo>
                    <a:pt x="21" y="382"/>
                  </a:lnTo>
                  <a:lnTo>
                    <a:pt x="21" y="382"/>
                  </a:lnTo>
                  <a:lnTo>
                    <a:pt x="21" y="382"/>
                  </a:lnTo>
                  <a:lnTo>
                    <a:pt x="21" y="382"/>
                  </a:lnTo>
                  <a:close/>
                  <a:moveTo>
                    <a:pt x="22" y="381"/>
                  </a:moveTo>
                  <a:lnTo>
                    <a:pt x="22" y="381"/>
                  </a:lnTo>
                  <a:lnTo>
                    <a:pt x="23" y="382"/>
                  </a:lnTo>
                  <a:lnTo>
                    <a:pt x="28" y="382"/>
                  </a:lnTo>
                  <a:lnTo>
                    <a:pt x="30" y="381"/>
                  </a:lnTo>
                  <a:lnTo>
                    <a:pt x="30" y="381"/>
                  </a:lnTo>
                  <a:lnTo>
                    <a:pt x="24" y="381"/>
                  </a:lnTo>
                  <a:lnTo>
                    <a:pt x="22" y="381"/>
                  </a:lnTo>
                  <a:close/>
                  <a:moveTo>
                    <a:pt x="393" y="325"/>
                  </a:moveTo>
                  <a:lnTo>
                    <a:pt x="389" y="328"/>
                  </a:lnTo>
                  <a:lnTo>
                    <a:pt x="387" y="330"/>
                  </a:lnTo>
                  <a:lnTo>
                    <a:pt x="383" y="333"/>
                  </a:lnTo>
                  <a:lnTo>
                    <a:pt x="382" y="341"/>
                  </a:lnTo>
                  <a:lnTo>
                    <a:pt x="380" y="350"/>
                  </a:lnTo>
                  <a:lnTo>
                    <a:pt x="378" y="345"/>
                  </a:lnTo>
                  <a:lnTo>
                    <a:pt x="376" y="339"/>
                  </a:lnTo>
                  <a:lnTo>
                    <a:pt x="375" y="345"/>
                  </a:lnTo>
                  <a:lnTo>
                    <a:pt x="375" y="351"/>
                  </a:lnTo>
                  <a:lnTo>
                    <a:pt x="374" y="350"/>
                  </a:lnTo>
                  <a:lnTo>
                    <a:pt x="373" y="349"/>
                  </a:lnTo>
                  <a:lnTo>
                    <a:pt x="371" y="347"/>
                  </a:lnTo>
                  <a:lnTo>
                    <a:pt x="371" y="351"/>
                  </a:lnTo>
                  <a:lnTo>
                    <a:pt x="371" y="355"/>
                  </a:lnTo>
                  <a:lnTo>
                    <a:pt x="370" y="359"/>
                  </a:lnTo>
                  <a:lnTo>
                    <a:pt x="371" y="364"/>
                  </a:lnTo>
                  <a:lnTo>
                    <a:pt x="369" y="358"/>
                  </a:lnTo>
                  <a:lnTo>
                    <a:pt x="366" y="354"/>
                  </a:lnTo>
                  <a:lnTo>
                    <a:pt x="366" y="370"/>
                  </a:lnTo>
                  <a:lnTo>
                    <a:pt x="369" y="389"/>
                  </a:lnTo>
                  <a:lnTo>
                    <a:pt x="378" y="396"/>
                  </a:lnTo>
                  <a:lnTo>
                    <a:pt x="388" y="409"/>
                  </a:lnTo>
                  <a:lnTo>
                    <a:pt x="400" y="427"/>
                  </a:lnTo>
                  <a:lnTo>
                    <a:pt x="400" y="429"/>
                  </a:lnTo>
                  <a:lnTo>
                    <a:pt x="401" y="429"/>
                  </a:lnTo>
                  <a:lnTo>
                    <a:pt x="401" y="427"/>
                  </a:lnTo>
                  <a:lnTo>
                    <a:pt x="402" y="425"/>
                  </a:lnTo>
                  <a:lnTo>
                    <a:pt x="402" y="421"/>
                  </a:lnTo>
                  <a:lnTo>
                    <a:pt x="402" y="417"/>
                  </a:lnTo>
                  <a:lnTo>
                    <a:pt x="402" y="412"/>
                  </a:lnTo>
                  <a:lnTo>
                    <a:pt x="396" y="390"/>
                  </a:lnTo>
                  <a:lnTo>
                    <a:pt x="396" y="394"/>
                  </a:lnTo>
                  <a:lnTo>
                    <a:pt x="396" y="398"/>
                  </a:lnTo>
                  <a:lnTo>
                    <a:pt x="396" y="400"/>
                  </a:lnTo>
                  <a:lnTo>
                    <a:pt x="396" y="403"/>
                  </a:lnTo>
                  <a:lnTo>
                    <a:pt x="393" y="387"/>
                  </a:lnTo>
                  <a:lnTo>
                    <a:pt x="392" y="370"/>
                  </a:lnTo>
                  <a:lnTo>
                    <a:pt x="392" y="372"/>
                  </a:lnTo>
                  <a:lnTo>
                    <a:pt x="391" y="377"/>
                  </a:lnTo>
                  <a:lnTo>
                    <a:pt x="389" y="383"/>
                  </a:lnTo>
                  <a:lnTo>
                    <a:pt x="389" y="378"/>
                  </a:lnTo>
                  <a:lnTo>
                    <a:pt x="391" y="374"/>
                  </a:lnTo>
                  <a:lnTo>
                    <a:pt x="389" y="377"/>
                  </a:lnTo>
                  <a:lnTo>
                    <a:pt x="388" y="378"/>
                  </a:lnTo>
                  <a:lnTo>
                    <a:pt x="388" y="358"/>
                  </a:lnTo>
                  <a:lnTo>
                    <a:pt x="393" y="338"/>
                  </a:lnTo>
                  <a:lnTo>
                    <a:pt x="393" y="332"/>
                  </a:lnTo>
                  <a:lnTo>
                    <a:pt x="393" y="325"/>
                  </a:lnTo>
                  <a:close/>
                  <a:moveTo>
                    <a:pt x="77" y="119"/>
                  </a:moveTo>
                  <a:lnTo>
                    <a:pt x="76" y="120"/>
                  </a:lnTo>
                  <a:lnTo>
                    <a:pt x="70" y="130"/>
                  </a:lnTo>
                  <a:lnTo>
                    <a:pt x="73" y="126"/>
                  </a:lnTo>
                  <a:lnTo>
                    <a:pt x="76" y="124"/>
                  </a:lnTo>
                  <a:lnTo>
                    <a:pt x="77" y="121"/>
                  </a:lnTo>
                  <a:lnTo>
                    <a:pt x="77" y="123"/>
                  </a:lnTo>
                  <a:lnTo>
                    <a:pt x="77" y="119"/>
                  </a:lnTo>
                  <a:close/>
                  <a:moveTo>
                    <a:pt x="146" y="85"/>
                  </a:moveTo>
                  <a:lnTo>
                    <a:pt x="133" y="90"/>
                  </a:lnTo>
                  <a:lnTo>
                    <a:pt x="131" y="92"/>
                  </a:lnTo>
                  <a:lnTo>
                    <a:pt x="142" y="88"/>
                  </a:lnTo>
                  <a:lnTo>
                    <a:pt x="143" y="88"/>
                  </a:lnTo>
                  <a:lnTo>
                    <a:pt x="146" y="85"/>
                  </a:lnTo>
                  <a:close/>
                  <a:moveTo>
                    <a:pt x="296" y="84"/>
                  </a:moveTo>
                  <a:lnTo>
                    <a:pt x="296" y="84"/>
                  </a:lnTo>
                  <a:lnTo>
                    <a:pt x="296" y="84"/>
                  </a:lnTo>
                  <a:lnTo>
                    <a:pt x="296" y="84"/>
                  </a:lnTo>
                  <a:close/>
                  <a:moveTo>
                    <a:pt x="148" y="84"/>
                  </a:moveTo>
                  <a:lnTo>
                    <a:pt x="146" y="85"/>
                  </a:lnTo>
                  <a:lnTo>
                    <a:pt x="144" y="86"/>
                  </a:lnTo>
                  <a:lnTo>
                    <a:pt x="148" y="84"/>
                  </a:lnTo>
                  <a:close/>
                  <a:moveTo>
                    <a:pt x="153" y="81"/>
                  </a:moveTo>
                  <a:lnTo>
                    <a:pt x="151" y="82"/>
                  </a:lnTo>
                  <a:lnTo>
                    <a:pt x="150" y="84"/>
                  </a:lnTo>
                  <a:lnTo>
                    <a:pt x="153" y="81"/>
                  </a:lnTo>
                  <a:close/>
                  <a:moveTo>
                    <a:pt x="125" y="79"/>
                  </a:moveTo>
                  <a:lnTo>
                    <a:pt x="125" y="79"/>
                  </a:lnTo>
                  <a:lnTo>
                    <a:pt x="125" y="79"/>
                  </a:lnTo>
                  <a:lnTo>
                    <a:pt x="125" y="79"/>
                  </a:lnTo>
                  <a:close/>
                  <a:moveTo>
                    <a:pt x="530" y="0"/>
                  </a:moveTo>
                  <a:lnTo>
                    <a:pt x="543" y="2"/>
                  </a:lnTo>
                  <a:lnTo>
                    <a:pt x="554" y="9"/>
                  </a:lnTo>
                  <a:lnTo>
                    <a:pt x="556" y="9"/>
                  </a:lnTo>
                  <a:lnTo>
                    <a:pt x="563" y="11"/>
                  </a:lnTo>
                  <a:lnTo>
                    <a:pt x="566" y="13"/>
                  </a:lnTo>
                  <a:lnTo>
                    <a:pt x="572" y="14"/>
                  </a:lnTo>
                  <a:lnTo>
                    <a:pt x="579" y="15"/>
                  </a:lnTo>
                  <a:lnTo>
                    <a:pt x="585" y="19"/>
                  </a:lnTo>
                  <a:lnTo>
                    <a:pt x="593" y="23"/>
                  </a:lnTo>
                  <a:lnTo>
                    <a:pt x="598" y="30"/>
                  </a:lnTo>
                  <a:lnTo>
                    <a:pt x="602" y="35"/>
                  </a:lnTo>
                  <a:lnTo>
                    <a:pt x="605" y="40"/>
                  </a:lnTo>
                  <a:lnTo>
                    <a:pt x="605" y="40"/>
                  </a:lnTo>
                  <a:lnTo>
                    <a:pt x="607" y="42"/>
                  </a:lnTo>
                  <a:lnTo>
                    <a:pt x="610" y="48"/>
                  </a:lnTo>
                  <a:lnTo>
                    <a:pt x="611" y="52"/>
                  </a:lnTo>
                  <a:lnTo>
                    <a:pt x="612" y="55"/>
                  </a:lnTo>
                  <a:lnTo>
                    <a:pt x="612" y="57"/>
                  </a:lnTo>
                  <a:lnTo>
                    <a:pt x="614" y="59"/>
                  </a:lnTo>
                  <a:lnTo>
                    <a:pt x="614" y="61"/>
                  </a:lnTo>
                  <a:lnTo>
                    <a:pt x="614" y="61"/>
                  </a:lnTo>
                  <a:lnTo>
                    <a:pt x="619" y="63"/>
                  </a:lnTo>
                  <a:lnTo>
                    <a:pt x="624" y="68"/>
                  </a:lnTo>
                  <a:lnTo>
                    <a:pt x="626" y="72"/>
                  </a:lnTo>
                  <a:lnTo>
                    <a:pt x="629" y="76"/>
                  </a:lnTo>
                  <a:lnTo>
                    <a:pt x="630" y="79"/>
                  </a:lnTo>
                  <a:lnTo>
                    <a:pt x="632" y="80"/>
                  </a:lnTo>
                  <a:lnTo>
                    <a:pt x="632" y="82"/>
                  </a:lnTo>
                  <a:lnTo>
                    <a:pt x="633" y="84"/>
                  </a:lnTo>
                  <a:lnTo>
                    <a:pt x="633" y="90"/>
                  </a:lnTo>
                  <a:lnTo>
                    <a:pt x="632" y="94"/>
                  </a:lnTo>
                  <a:lnTo>
                    <a:pt x="630" y="98"/>
                  </a:lnTo>
                  <a:lnTo>
                    <a:pt x="630" y="99"/>
                  </a:lnTo>
                  <a:lnTo>
                    <a:pt x="632" y="102"/>
                  </a:lnTo>
                  <a:lnTo>
                    <a:pt x="632" y="103"/>
                  </a:lnTo>
                  <a:lnTo>
                    <a:pt x="632" y="104"/>
                  </a:lnTo>
                  <a:lnTo>
                    <a:pt x="632" y="103"/>
                  </a:lnTo>
                  <a:lnTo>
                    <a:pt x="630" y="103"/>
                  </a:lnTo>
                  <a:lnTo>
                    <a:pt x="630" y="103"/>
                  </a:lnTo>
                  <a:lnTo>
                    <a:pt x="632" y="104"/>
                  </a:lnTo>
                  <a:lnTo>
                    <a:pt x="636" y="107"/>
                  </a:lnTo>
                  <a:lnTo>
                    <a:pt x="639" y="111"/>
                  </a:lnTo>
                  <a:lnTo>
                    <a:pt x="641" y="113"/>
                  </a:lnTo>
                  <a:lnTo>
                    <a:pt x="642" y="115"/>
                  </a:lnTo>
                  <a:lnTo>
                    <a:pt x="642" y="117"/>
                  </a:lnTo>
                  <a:lnTo>
                    <a:pt x="642" y="120"/>
                  </a:lnTo>
                  <a:lnTo>
                    <a:pt x="641" y="124"/>
                  </a:lnTo>
                  <a:lnTo>
                    <a:pt x="639" y="128"/>
                  </a:lnTo>
                  <a:lnTo>
                    <a:pt x="638" y="128"/>
                  </a:lnTo>
                  <a:lnTo>
                    <a:pt x="642" y="132"/>
                  </a:lnTo>
                  <a:lnTo>
                    <a:pt x="645" y="137"/>
                  </a:lnTo>
                  <a:lnTo>
                    <a:pt x="646" y="139"/>
                  </a:lnTo>
                  <a:lnTo>
                    <a:pt x="647" y="143"/>
                  </a:lnTo>
                  <a:lnTo>
                    <a:pt x="648" y="146"/>
                  </a:lnTo>
                  <a:lnTo>
                    <a:pt x="648" y="147"/>
                  </a:lnTo>
                  <a:lnTo>
                    <a:pt x="648" y="150"/>
                  </a:lnTo>
                  <a:lnTo>
                    <a:pt x="650" y="152"/>
                  </a:lnTo>
                  <a:lnTo>
                    <a:pt x="651" y="154"/>
                  </a:lnTo>
                  <a:lnTo>
                    <a:pt x="652" y="155"/>
                  </a:lnTo>
                  <a:lnTo>
                    <a:pt x="652" y="156"/>
                  </a:lnTo>
                  <a:lnTo>
                    <a:pt x="654" y="157"/>
                  </a:lnTo>
                  <a:lnTo>
                    <a:pt x="652" y="160"/>
                  </a:lnTo>
                  <a:lnTo>
                    <a:pt x="652" y="160"/>
                  </a:lnTo>
                  <a:lnTo>
                    <a:pt x="660" y="161"/>
                  </a:lnTo>
                  <a:lnTo>
                    <a:pt x="660" y="164"/>
                  </a:lnTo>
                  <a:lnTo>
                    <a:pt x="659" y="166"/>
                  </a:lnTo>
                  <a:lnTo>
                    <a:pt x="657" y="169"/>
                  </a:lnTo>
                  <a:lnTo>
                    <a:pt x="656" y="170"/>
                  </a:lnTo>
                  <a:lnTo>
                    <a:pt x="654" y="170"/>
                  </a:lnTo>
                  <a:lnTo>
                    <a:pt x="651" y="172"/>
                  </a:lnTo>
                  <a:lnTo>
                    <a:pt x="648" y="173"/>
                  </a:lnTo>
                  <a:lnTo>
                    <a:pt x="645" y="174"/>
                  </a:lnTo>
                  <a:lnTo>
                    <a:pt x="647" y="174"/>
                  </a:lnTo>
                  <a:lnTo>
                    <a:pt x="647" y="174"/>
                  </a:lnTo>
                  <a:lnTo>
                    <a:pt x="646" y="175"/>
                  </a:lnTo>
                  <a:lnTo>
                    <a:pt x="648" y="177"/>
                  </a:lnTo>
                  <a:lnTo>
                    <a:pt x="651" y="178"/>
                  </a:lnTo>
                  <a:lnTo>
                    <a:pt x="654" y="179"/>
                  </a:lnTo>
                  <a:lnTo>
                    <a:pt x="654" y="182"/>
                  </a:lnTo>
                  <a:lnTo>
                    <a:pt x="652" y="185"/>
                  </a:lnTo>
                  <a:lnTo>
                    <a:pt x="648" y="186"/>
                  </a:lnTo>
                  <a:lnTo>
                    <a:pt x="646" y="187"/>
                  </a:lnTo>
                  <a:lnTo>
                    <a:pt x="642" y="187"/>
                  </a:lnTo>
                  <a:lnTo>
                    <a:pt x="638" y="186"/>
                  </a:lnTo>
                  <a:lnTo>
                    <a:pt x="634" y="187"/>
                  </a:lnTo>
                  <a:lnTo>
                    <a:pt x="629" y="187"/>
                  </a:lnTo>
                  <a:lnTo>
                    <a:pt x="634" y="188"/>
                  </a:lnTo>
                  <a:lnTo>
                    <a:pt x="637" y="188"/>
                  </a:lnTo>
                  <a:lnTo>
                    <a:pt x="638" y="188"/>
                  </a:lnTo>
                  <a:lnTo>
                    <a:pt x="639" y="188"/>
                  </a:lnTo>
                  <a:lnTo>
                    <a:pt x="638" y="190"/>
                  </a:lnTo>
                  <a:lnTo>
                    <a:pt x="637" y="190"/>
                  </a:lnTo>
                  <a:lnTo>
                    <a:pt x="634" y="191"/>
                  </a:lnTo>
                  <a:lnTo>
                    <a:pt x="632" y="191"/>
                  </a:lnTo>
                  <a:lnTo>
                    <a:pt x="628" y="191"/>
                  </a:lnTo>
                  <a:lnTo>
                    <a:pt x="628" y="191"/>
                  </a:lnTo>
                  <a:lnTo>
                    <a:pt x="630" y="192"/>
                  </a:lnTo>
                  <a:lnTo>
                    <a:pt x="632" y="192"/>
                  </a:lnTo>
                  <a:lnTo>
                    <a:pt x="633" y="194"/>
                  </a:lnTo>
                  <a:lnTo>
                    <a:pt x="632" y="194"/>
                  </a:lnTo>
                  <a:lnTo>
                    <a:pt x="630" y="194"/>
                  </a:lnTo>
                  <a:lnTo>
                    <a:pt x="628" y="194"/>
                  </a:lnTo>
                  <a:lnTo>
                    <a:pt x="624" y="194"/>
                  </a:lnTo>
                  <a:lnTo>
                    <a:pt x="621" y="194"/>
                  </a:lnTo>
                  <a:lnTo>
                    <a:pt x="626" y="196"/>
                  </a:lnTo>
                  <a:lnTo>
                    <a:pt x="626" y="196"/>
                  </a:lnTo>
                  <a:lnTo>
                    <a:pt x="624" y="196"/>
                  </a:lnTo>
                  <a:lnTo>
                    <a:pt x="623" y="196"/>
                  </a:lnTo>
                  <a:lnTo>
                    <a:pt x="619" y="196"/>
                  </a:lnTo>
                  <a:lnTo>
                    <a:pt x="615" y="195"/>
                  </a:lnTo>
                  <a:lnTo>
                    <a:pt x="612" y="195"/>
                  </a:lnTo>
                  <a:lnTo>
                    <a:pt x="610" y="195"/>
                  </a:lnTo>
                  <a:lnTo>
                    <a:pt x="611" y="196"/>
                  </a:lnTo>
                  <a:lnTo>
                    <a:pt x="608" y="196"/>
                  </a:lnTo>
                  <a:lnTo>
                    <a:pt x="606" y="196"/>
                  </a:lnTo>
                  <a:lnTo>
                    <a:pt x="603" y="195"/>
                  </a:lnTo>
                  <a:lnTo>
                    <a:pt x="601" y="195"/>
                  </a:lnTo>
                  <a:lnTo>
                    <a:pt x="602" y="196"/>
                  </a:lnTo>
                  <a:lnTo>
                    <a:pt x="601" y="195"/>
                  </a:lnTo>
                  <a:lnTo>
                    <a:pt x="598" y="195"/>
                  </a:lnTo>
                  <a:lnTo>
                    <a:pt x="602" y="197"/>
                  </a:lnTo>
                  <a:lnTo>
                    <a:pt x="606" y="201"/>
                  </a:lnTo>
                  <a:lnTo>
                    <a:pt x="599" y="201"/>
                  </a:lnTo>
                  <a:lnTo>
                    <a:pt x="593" y="199"/>
                  </a:lnTo>
                  <a:lnTo>
                    <a:pt x="594" y="200"/>
                  </a:lnTo>
                  <a:lnTo>
                    <a:pt x="596" y="201"/>
                  </a:lnTo>
                  <a:lnTo>
                    <a:pt x="592" y="200"/>
                  </a:lnTo>
                  <a:lnTo>
                    <a:pt x="587" y="199"/>
                  </a:lnTo>
                  <a:lnTo>
                    <a:pt x="583" y="197"/>
                  </a:lnTo>
                  <a:lnTo>
                    <a:pt x="585" y="199"/>
                  </a:lnTo>
                  <a:lnTo>
                    <a:pt x="588" y="201"/>
                  </a:lnTo>
                  <a:lnTo>
                    <a:pt x="584" y="201"/>
                  </a:lnTo>
                  <a:lnTo>
                    <a:pt x="580" y="200"/>
                  </a:lnTo>
                  <a:lnTo>
                    <a:pt x="578" y="199"/>
                  </a:lnTo>
                  <a:lnTo>
                    <a:pt x="579" y="200"/>
                  </a:lnTo>
                  <a:lnTo>
                    <a:pt x="580" y="201"/>
                  </a:lnTo>
                  <a:lnTo>
                    <a:pt x="580" y="204"/>
                  </a:lnTo>
                  <a:lnTo>
                    <a:pt x="578" y="203"/>
                  </a:lnTo>
                  <a:lnTo>
                    <a:pt x="574" y="201"/>
                  </a:lnTo>
                  <a:lnTo>
                    <a:pt x="571" y="199"/>
                  </a:lnTo>
                  <a:lnTo>
                    <a:pt x="572" y="201"/>
                  </a:lnTo>
                  <a:lnTo>
                    <a:pt x="574" y="205"/>
                  </a:lnTo>
                  <a:lnTo>
                    <a:pt x="570" y="203"/>
                  </a:lnTo>
                  <a:lnTo>
                    <a:pt x="566" y="200"/>
                  </a:lnTo>
                  <a:lnTo>
                    <a:pt x="567" y="203"/>
                  </a:lnTo>
                  <a:lnTo>
                    <a:pt x="568" y="205"/>
                  </a:lnTo>
                  <a:lnTo>
                    <a:pt x="570" y="208"/>
                  </a:lnTo>
                  <a:lnTo>
                    <a:pt x="566" y="206"/>
                  </a:lnTo>
                  <a:lnTo>
                    <a:pt x="562" y="204"/>
                  </a:lnTo>
                  <a:lnTo>
                    <a:pt x="563" y="208"/>
                  </a:lnTo>
                  <a:lnTo>
                    <a:pt x="565" y="213"/>
                  </a:lnTo>
                  <a:lnTo>
                    <a:pt x="562" y="210"/>
                  </a:lnTo>
                  <a:lnTo>
                    <a:pt x="559" y="208"/>
                  </a:lnTo>
                  <a:lnTo>
                    <a:pt x="557" y="205"/>
                  </a:lnTo>
                  <a:lnTo>
                    <a:pt x="558" y="209"/>
                  </a:lnTo>
                  <a:lnTo>
                    <a:pt x="559" y="213"/>
                  </a:lnTo>
                  <a:lnTo>
                    <a:pt x="559" y="217"/>
                  </a:lnTo>
                  <a:lnTo>
                    <a:pt x="557" y="213"/>
                  </a:lnTo>
                  <a:lnTo>
                    <a:pt x="556" y="209"/>
                  </a:lnTo>
                  <a:lnTo>
                    <a:pt x="553" y="204"/>
                  </a:lnTo>
                  <a:lnTo>
                    <a:pt x="553" y="205"/>
                  </a:lnTo>
                  <a:lnTo>
                    <a:pt x="553" y="204"/>
                  </a:lnTo>
                  <a:lnTo>
                    <a:pt x="552" y="203"/>
                  </a:lnTo>
                  <a:lnTo>
                    <a:pt x="552" y="213"/>
                  </a:lnTo>
                  <a:lnTo>
                    <a:pt x="552" y="225"/>
                  </a:lnTo>
                  <a:lnTo>
                    <a:pt x="549" y="219"/>
                  </a:lnTo>
                  <a:lnTo>
                    <a:pt x="547" y="214"/>
                  </a:lnTo>
                  <a:lnTo>
                    <a:pt x="547" y="216"/>
                  </a:lnTo>
                  <a:lnTo>
                    <a:pt x="547" y="217"/>
                  </a:lnTo>
                  <a:lnTo>
                    <a:pt x="547" y="218"/>
                  </a:lnTo>
                  <a:lnTo>
                    <a:pt x="547" y="217"/>
                  </a:lnTo>
                  <a:lnTo>
                    <a:pt x="547" y="214"/>
                  </a:lnTo>
                  <a:lnTo>
                    <a:pt x="547" y="212"/>
                  </a:lnTo>
                  <a:lnTo>
                    <a:pt x="544" y="208"/>
                  </a:lnTo>
                  <a:lnTo>
                    <a:pt x="543" y="205"/>
                  </a:lnTo>
                  <a:lnTo>
                    <a:pt x="544" y="216"/>
                  </a:lnTo>
                  <a:lnTo>
                    <a:pt x="545" y="226"/>
                  </a:lnTo>
                  <a:lnTo>
                    <a:pt x="545" y="236"/>
                  </a:lnTo>
                  <a:lnTo>
                    <a:pt x="541" y="228"/>
                  </a:lnTo>
                  <a:lnTo>
                    <a:pt x="539" y="222"/>
                  </a:lnTo>
                  <a:lnTo>
                    <a:pt x="538" y="218"/>
                  </a:lnTo>
                  <a:lnTo>
                    <a:pt x="538" y="223"/>
                  </a:lnTo>
                  <a:lnTo>
                    <a:pt x="538" y="228"/>
                  </a:lnTo>
                  <a:lnTo>
                    <a:pt x="538" y="232"/>
                  </a:lnTo>
                  <a:lnTo>
                    <a:pt x="538" y="236"/>
                  </a:lnTo>
                  <a:lnTo>
                    <a:pt x="538" y="239"/>
                  </a:lnTo>
                  <a:lnTo>
                    <a:pt x="538" y="241"/>
                  </a:lnTo>
                  <a:lnTo>
                    <a:pt x="538" y="241"/>
                  </a:lnTo>
                  <a:lnTo>
                    <a:pt x="538" y="241"/>
                  </a:lnTo>
                  <a:lnTo>
                    <a:pt x="538" y="239"/>
                  </a:lnTo>
                  <a:lnTo>
                    <a:pt x="536" y="235"/>
                  </a:lnTo>
                  <a:lnTo>
                    <a:pt x="536" y="236"/>
                  </a:lnTo>
                  <a:lnTo>
                    <a:pt x="534" y="231"/>
                  </a:lnTo>
                  <a:lnTo>
                    <a:pt x="532" y="225"/>
                  </a:lnTo>
                  <a:lnTo>
                    <a:pt x="532" y="230"/>
                  </a:lnTo>
                  <a:lnTo>
                    <a:pt x="534" y="235"/>
                  </a:lnTo>
                  <a:lnTo>
                    <a:pt x="534" y="239"/>
                  </a:lnTo>
                  <a:lnTo>
                    <a:pt x="535" y="244"/>
                  </a:lnTo>
                  <a:lnTo>
                    <a:pt x="535" y="246"/>
                  </a:lnTo>
                  <a:lnTo>
                    <a:pt x="535" y="249"/>
                  </a:lnTo>
                  <a:lnTo>
                    <a:pt x="535" y="249"/>
                  </a:lnTo>
                  <a:lnTo>
                    <a:pt x="535" y="249"/>
                  </a:lnTo>
                  <a:lnTo>
                    <a:pt x="534" y="246"/>
                  </a:lnTo>
                  <a:lnTo>
                    <a:pt x="535" y="252"/>
                  </a:lnTo>
                  <a:lnTo>
                    <a:pt x="535" y="257"/>
                  </a:lnTo>
                  <a:lnTo>
                    <a:pt x="536" y="262"/>
                  </a:lnTo>
                  <a:lnTo>
                    <a:pt x="535" y="266"/>
                  </a:lnTo>
                  <a:lnTo>
                    <a:pt x="535" y="267"/>
                  </a:lnTo>
                  <a:lnTo>
                    <a:pt x="535" y="268"/>
                  </a:lnTo>
                  <a:lnTo>
                    <a:pt x="535" y="267"/>
                  </a:lnTo>
                  <a:lnTo>
                    <a:pt x="535" y="266"/>
                  </a:lnTo>
                  <a:lnTo>
                    <a:pt x="535" y="262"/>
                  </a:lnTo>
                  <a:lnTo>
                    <a:pt x="534" y="258"/>
                  </a:lnTo>
                  <a:lnTo>
                    <a:pt x="532" y="253"/>
                  </a:lnTo>
                  <a:lnTo>
                    <a:pt x="531" y="248"/>
                  </a:lnTo>
                  <a:lnTo>
                    <a:pt x="531" y="254"/>
                  </a:lnTo>
                  <a:lnTo>
                    <a:pt x="532" y="259"/>
                  </a:lnTo>
                  <a:lnTo>
                    <a:pt x="532" y="265"/>
                  </a:lnTo>
                  <a:lnTo>
                    <a:pt x="532" y="268"/>
                  </a:lnTo>
                  <a:lnTo>
                    <a:pt x="532" y="272"/>
                  </a:lnTo>
                  <a:lnTo>
                    <a:pt x="532" y="274"/>
                  </a:lnTo>
                  <a:lnTo>
                    <a:pt x="531" y="275"/>
                  </a:lnTo>
                  <a:lnTo>
                    <a:pt x="531" y="274"/>
                  </a:lnTo>
                  <a:lnTo>
                    <a:pt x="531" y="272"/>
                  </a:lnTo>
                  <a:lnTo>
                    <a:pt x="531" y="268"/>
                  </a:lnTo>
                  <a:lnTo>
                    <a:pt x="530" y="265"/>
                  </a:lnTo>
                  <a:lnTo>
                    <a:pt x="529" y="258"/>
                  </a:lnTo>
                  <a:lnTo>
                    <a:pt x="529" y="259"/>
                  </a:lnTo>
                  <a:lnTo>
                    <a:pt x="529" y="262"/>
                  </a:lnTo>
                  <a:lnTo>
                    <a:pt x="527" y="266"/>
                  </a:lnTo>
                  <a:lnTo>
                    <a:pt x="527" y="267"/>
                  </a:lnTo>
                  <a:lnTo>
                    <a:pt x="527" y="272"/>
                  </a:lnTo>
                  <a:lnTo>
                    <a:pt x="527" y="275"/>
                  </a:lnTo>
                  <a:lnTo>
                    <a:pt x="527" y="276"/>
                  </a:lnTo>
                  <a:lnTo>
                    <a:pt x="527" y="275"/>
                  </a:lnTo>
                  <a:lnTo>
                    <a:pt x="527" y="274"/>
                  </a:lnTo>
                  <a:lnTo>
                    <a:pt x="526" y="271"/>
                  </a:lnTo>
                  <a:lnTo>
                    <a:pt x="525" y="276"/>
                  </a:lnTo>
                  <a:lnTo>
                    <a:pt x="525" y="277"/>
                  </a:lnTo>
                  <a:lnTo>
                    <a:pt x="525" y="280"/>
                  </a:lnTo>
                  <a:lnTo>
                    <a:pt x="525" y="280"/>
                  </a:lnTo>
                  <a:lnTo>
                    <a:pt x="523" y="280"/>
                  </a:lnTo>
                  <a:lnTo>
                    <a:pt x="523" y="279"/>
                  </a:lnTo>
                  <a:lnTo>
                    <a:pt x="523" y="280"/>
                  </a:lnTo>
                  <a:lnTo>
                    <a:pt x="523" y="284"/>
                  </a:lnTo>
                  <a:lnTo>
                    <a:pt x="523" y="285"/>
                  </a:lnTo>
                  <a:lnTo>
                    <a:pt x="523" y="287"/>
                  </a:lnTo>
                  <a:lnTo>
                    <a:pt x="522" y="283"/>
                  </a:lnTo>
                  <a:lnTo>
                    <a:pt x="518" y="288"/>
                  </a:lnTo>
                  <a:lnTo>
                    <a:pt x="518" y="293"/>
                  </a:lnTo>
                  <a:lnTo>
                    <a:pt x="518" y="297"/>
                  </a:lnTo>
                  <a:lnTo>
                    <a:pt x="518" y="298"/>
                  </a:lnTo>
                  <a:lnTo>
                    <a:pt x="518" y="298"/>
                  </a:lnTo>
                  <a:lnTo>
                    <a:pt x="518" y="298"/>
                  </a:lnTo>
                  <a:lnTo>
                    <a:pt x="517" y="302"/>
                  </a:lnTo>
                  <a:lnTo>
                    <a:pt x="517" y="305"/>
                  </a:lnTo>
                  <a:lnTo>
                    <a:pt x="516" y="306"/>
                  </a:lnTo>
                  <a:lnTo>
                    <a:pt x="516" y="306"/>
                  </a:lnTo>
                  <a:lnTo>
                    <a:pt x="516" y="306"/>
                  </a:lnTo>
                  <a:lnTo>
                    <a:pt x="516" y="303"/>
                  </a:lnTo>
                  <a:lnTo>
                    <a:pt x="516" y="301"/>
                  </a:lnTo>
                  <a:lnTo>
                    <a:pt x="516" y="297"/>
                  </a:lnTo>
                  <a:lnTo>
                    <a:pt x="516" y="292"/>
                  </a:lnTo>
                  <a:lnTo>
                    <a:pt x="514" y="293"/>
                  </a:lnTo>
                  <a:lnTo>
                    <a:pt x="514" y="293"/>
                  </a:lnTo>
                  <a:lnTo>
                    <a:pt x="516" y="290"/>
                  </a:lnTo>
                  <a:lnTo>
                    <a:pt x="514" y="288"/>
                  </a:lnTo>
                  <a:lnTo>
                    <a:pt x="514" y="289"/>
                  </a:lnTo>
                  <a:lnTo>
                    <a:pt x="513" y="289"/>
                  </a:lnTo>
                  <a:lnTo>
                    <a:pt x="514" y="293"/>
                  </a:lnTo>
                  <a:lnTo>
                    <a:pt x="514" y="297"/>
                  </a:lnTo>
                  <a:lnTo>
                    <a:pt x="514" y="299"/>
                  </a:lnTo>
                  <a:lnTo>
                    <a:pt x="516" y="301"/>
                  </a:lnTo>
                  <a:lnTo>
                    <a:pt x="513" y="294"/>
                  </a:lnTo>
                  <a:lnTo>
                    <a:pt x="512" y="296"/>
                  </a:lnTo>
                  <a:lnTo>
                    <a:pt x="512" y="296"/>
                  </a:lnTo>
                  <a:lnTo>
                    <a:pt x="513" y="299"/>
                  </a:lnTo>
                  <a:lnTo>
                    <a:pt x="514" y="305"/>
                  </a:lnTo>
                  <a:lnTo>
                    <a:pt x="514" y="307"/>
                  </a:lnTo>
                  <a:lnTo>
                    <a:pt x="514" y="310"/>
                  </a:lnTo>
                  <a:lnTo>
                    <a:pt x="516" y="310"/>
                  </a:lnTo>
                  <a:lnTo>
                    <a:pt x="514" y="308"/>
                  </a:lnTo>
                  <a:lnTo>
                    <a:pt x="514" y="307"/>
                  </a:lnTo>
                  <a:lnTo>
                    <a:pt x="512" y="303"/>
                  </a:lnTo>
                  <a:lnTo>
                    <a:pt x="512" y="303"/>
                  </a:lnTo>
                  <a:lnTo>
                    <a:pt x="513" y="306"/>
                  </a:lnTo>
                  <a:lnTo>
                    <a:pt x="513" y="307"/>
                  </a:lnTo>
                  <a:lnTo>
                    <a:pt x="513" y="308"/>
                  </a:lnTo>
                  <a:lnTo>
                    <a:pt x="512" y="307"/>
                  </a:lnTo>
                  <a:lnTo>
                    <a:pt x="512" y="307"/>
                  </a:lnTo>
                  <a:lnTo>
                    <a:pt x="512" y="311"/>
                  </a:lnTo>
                  <a:lnTo>
                    <a:pt x="512" y="314"/>
                  </a:lnTo>
                  <a:lnTo>
                    <a:pt x="512" y="315"/>
                  </a:lnTo>
                  <a:lnTo>
                    <a:pt x="510" y="307"/>
                  </a:lnTo>
                  <a:lnTo>
                    <a:pt x="509" y="305"/>
                  </a:lnTo>
                  <a:lnTo>
                    <a:pt x="509" y="307"/>
                  </a:lnTo>
                  <a:lnTo>
                    <a:pt x="509" y="307"/>
                  </a:lnTo>
                  <a:lnTo>
                    <a:pt x="509" y="311"/>
                  </a:lnTo>
                  <a:lnTo>
                    <a:pt x="509" y="315"/>
                  </a:lnTo>
                  <a:lnTo>
                    <a:pt x="509" y="316"/>
                  </a:lnTo>
                  <a:lnTo>
                    <a:pt x="509" y="316"/>
                  </a:lnTo>
                  <a:lnTo>
                    <a:pt x="509" y="316"/>
                  </a:lnTo>
                  <a:lnTo>
                    <a:pt x="508" y="314"/>
                  </a:lnTo>
                  <a:lnTo>
                    <a:pt x="508" y="311"/>
                  </a:lnTo>
                  <a:lnTo>
                    <a:pt x="507" y="312"/>
                  </a:lnTo>
                  <a:lnTo>
                    <a:pt x="508" y="316"/>
                  </a:lnTo>
                  <a:lnTo>
                    <a:pt x="508" y="320"/>
                  </a:lnTo>
                  <a:lnTo>
                    <a:pt x="508" y="325"/>
                  </a:lnTo>
                  <a:lnTo>
                    <a:pt x="508" y="328"/>
                  </a:lnTo>
                  <a:lnTo>
                    <a:pt x="508" y="329"/>
                  </a:lnTo>
                  <a:lnTo>
                    <a:pt x="508" y="328"/>
                  </a:lnTo>
                  <a:lnTo>
                    <a:pt x="508" y="327"/>
                  </a:lnTo>
                  <a:lnTo>
                    <a:pt x="507" y="324"/>
                  </a:lnTo>
                  <a:lnTo>
                    <a:pt x="507" y="320"/>
                  </a:lnTo>
                  <a:lnTo>
                    <a:pt x="505" y="318"/>
                  </a:lnTo>
                  <a:lnTo>
                    <a:pt x="505" y="320"/>
                  </a:lnTo>
                  <a:lnTo>
                    <a:pt x="505" y="320"/>
                  </a:lnTo>
                  <a:lnTo>
                    <a:pt x="504" y="318"/>
                  </a:lnTo>
                  <a:lnTo>
                    <a:pt x="504" y="318"/>
                  </a:lnTo>
                  <a:lnTo>
                    <a:pt x="504" y="321"/>
                  </a:lnTo>
                  <a:lnTo>
                    <a:pt x="504" y="323"/>
                  </a:lnTo>
                  <a:lnTo>
                    <a:pt x="504" y="321"/>
                  </a:lnTo>
                  <a:lnTo>
                    <a:pt x="503" y="319"/>
                  </a:lnTo>
                  <a:lnTo>
                    <a:pt x="503" y="320"/>
                  </a:lnTo>
                  <a:lnTo>
                    <a:pt x="504" y="324"/>
                  </a:lnTo>
                  <a:lnTo>
                    <a:pt x="504" y="329"/>
                  </a:lnTo>
                  <a:lnTo>
                    <a:pt x="504" y="333"/>
                  </a:lnTo>
                  <a:lnTo>
                    <a:pt x="504" y="336"/>
                  </a:lnTo>
                  <a:lnTo>
                    <a:pt x="504" y="337"/>
                  </a:lnTo>
                  <a:lnTo>
                    <a:pt x="504" y="338"/>
                  </a:lnTo>
                  <a:lnTo>
                    <a:pt x="504" y="337"/>
                  </a:lnTo>
                  <a:lnTo>
                    <a:pt x="503" y="334"/>
                  </a:lnTo>
                  <a:lnTo>
                    <a:pt x="501" y="329"/>
                  </a:lnTo>
                  <a:lnTo>
                    <a:pt x="501" y="328"/>
                  </a:lnTo>
                  <a:lnTo>
                    <a:pt x="501" y="333"/>
                  </a:lnTo>
                  <a:lnTo>
                    <a:pt x="503" y="337"/>
                  </a:lnTo>
                  <a:lnTo>
                    <a:pt x="503" y="339"/>
                  </a:lnTo>
                  <a:lnTo>
                    <a:pt x="503" y="341"/>
                  </a:lnTo>
                  <a:lnTo>
                    <a:pt x="503" y="342"/>
                  </a:lnTo>
                  <a:lnTo>
                    <a:pt x="503" y="341"/>
                  </a:lnTo>
                  <a:lnTo>
                    <a:pt x="503" y="339"/>
                  </a:lnTo>
                  <a:lnTo>
                    <a:pt x="501" y="337"/>
                  </a:lnTo>
                  <a:lnTo>
                    <a:pt x="500" y="333"/>
                  </a:lnTo>
                  <a:lnTo>
                    <a:pt x="500" y="334"/>
                  </a:lnTo>
                  <a:lnTo>
                    <a:pt x="500" y="338"/>
                  </a:lnTo>
                  <a:lnTo>
                    <a:pt x="501" y="341"/>
                  </a:lnTo>
                  <a:lnTo>
                    <a:pt x="501" y="342"/>
                  </a:lnTo>
                  <a:lnTo>
                    <a:pt x="501" y="343"/>
                  </a:lnTo>
                  <a:lnTo>
                    <a:pt x="501" y="343"/>
                  </a:lnTo>
                  <a:lnTo>
                    <a:pt x="501" y="347"/>
                  </a:lnTo>
                  <a:lnTo>
                    <a:pt x="503" y="351"/>
                  </a:lnTo>
                  <a:lnTo>
                    <a:pt x="503" y="355"/>
                  </a:lnTo>
                  <a:lnTo>
                    <a:pt x="503" y="359"/>
                  </a:lnTo>
                  <a:lnTo>
                    <a:pt x="503" y="361"/>
                  </a:lnTo>
                  <a:lnTo>
                    <a:pt x="503" y="363"/>
                  </a:lnTo>
                  <a:lnTo>
                    <a:pt x="501" y="361"/>
                  </a:lnTo>
                  <a:lnTo>
                    <a:pt x="501" y="359"/>
                  </a:lnTo>
                  <a:lnTo>
                    <a:pt x="501" y="355"/>
                  </a:lnTo>
                  <a:lnTo>
                    <a:pt x="501" y="359"/>
                  </a:lnTo>
                  <a:lnTo>
                    <a:pt x="500" y="360"/>
                  </a:lnTo>
                  <a:lnTo>
                    <a:pt x="500" y="360"/>
                  </a:lnTo>
                  <a:lnTo>
                    <a:pt x="500" y="360"/>
                  </a:lnTo>
                  <a:lnTo>
                    <a:pt x="500" y="358"/>
                  </a:lnTo>
                  <a:lnTo>
                    <a:pt x="500" y="354"/>
                  </a:lnTo>
                  <a:lnTo>
                    <a:pt x="499" y="350"/>
                  </a:lnTo>
                  <a:lnTo>
                    <a:pt x="499" y="349"/>
                  </a:lnTo>
                  <a:lnTo>
                    <a:pt x="499" y="349"/>
                  </a:lnTo>
                  <a:lnTo>
                    <a:pt x="498" y="349"/>
                  </a:lnTo>
                  <a:lnTo>
                    <a:pt x="498" y="346"/>
                  </a:lnTo>
                  <a:lnTo>
                    <a:pt x="498" y="343"/>
                  </a:lnTo>
                  <a:lnTo>
                    <a:pt x="496" y="341"/>
                  </a:lnTo>
                  <a:lnTo>
                    <a:pt x="494" y="334"/>
                  </a:lnTo>
                  <a:lnTo>
                    <a:pt x="491" y="328"/>
                  </a:lnTo>
                  <a:lnTo>
                    <a:pt x="490" y="328"/>
                  </a:lnTo>
                  <a:lnTo>
                    <a:pt x="490" y="328"/>
                  </a:lnTo>
                  <a:lnTo>
                    <a:pt x="491" y="332"/>
                  </a:lnTo>
                  <a:lnTo>
                    <a:pt x="492" y="334"/>
                  </a:lnTo>
                  <a:lnTo>
                    <a:pt x="494" y="341"/>
                  </a:lnTo>
                  <a:lnTo>
                    <a:pt x="495" y="345"/>
                  </a:lnTo>
                  <a:lnTo>
                    <a:pt x="496" y="349"/>
                  </a:lnTo>
                  <a:lnTo>
                    <a:pt x="496" y="351"/>
                  </a:lnTo>
                  <a:lnTo>
                    <a:pt x="496" y="352"/>
                  </a:lnTo>
                  <a:lnTo>
                    <a:pt x="496" y="351"/>
                  </a:lnTo>
                  <a:lnTo>
                    <a:pt x="496" y="351"/>
                  </a:lnTo>
                  <a:lnTo>
                    <a:pt x="496" y="355"/>
                  </a:lnTo>
                  <a:lnTo>
                    <a:pt x="496" y="358"/>
                  </a:lnTo>
                  <a:lnTo>
                    <a:pt x="496" y="359"/>
                  </a:lnTo>
                  <a:lnTo>
                    <a:pt x="496" y="358"/>
                  </a:lnTo>
                  <a:lnTo>
                    <a:pt x="495" y="355"/>
                  </a:lnTo>
                  <a:lnTo>
                    <a:pt x="494" y="351"/>
                  </a:lnTo>
                  <a:lnTo>
                    <a:pt x="494" y="349"/>
                  </a:lnTo>
                  <a:lnTo>
                    <a:pt x="494" y="352"/>
                  </a:lnTo>
                  <a:lnTo>
                    <a:pt x="495" y="356"/>
                  </a:lnTo>
                  <a:lnTo>
                    <a:pt x="495" y="359"/>
                  </a:lnTo>
                  <a:lnTo>
                    <a:pt x="495" y="359"/>
                  </a:lnTo>
                  <a:lnTo>
                    <a:pt x="494" y="356"/>
                  </a:lnTo>
                  <a:lnTo>
                    <a:pt x="494" y="361"/>
                  </a:lnTo>
                  <a:lnTo>
                    <a:pt x="495" y="365"/>
                  </a:lnTo>
                  <a:lnTo>
                    <a:pt x="495" y="368"/>
                  </a:lnTo>
                  <a:lnTo>
                    <a:pt x="495" y="370"/>
                  </a:lnTo>
                  <a:lnTo>
                    <a:pt x="495" y="372"/>
                  </a:lnTo>
                  <a:lnTo>
                    <a:pt x="492" y="365"/>
                  </a:lnTo>
                  <a:lnTo>
                    <a:pt x="491" y="360"/>
                  </a:lnTo>
                  <a:lnTo>
                    <a:pt x="491" y="363"/>
                  </a:lnTo>
                  <a:lnTo>
                    <a:pt x="491" y="363"/>
                  </a:lnTo>
                  <a:lnTo>
                    <a:pt x="491" y="363"/>
                  </a:lnTo>
                  <a:lnTo>
                    <a:pt x="490" y="361"/>
                  </a:lnTo>
                  <a:lnTo>
                    <a:pt x="490" y="359"/>
                  </a:lnTo>
                  <a:lnTo>
                    <a:pt x="490" y="363"/>
                  </a:lnTo>
                  <a:lnTo>
                    <a:pt x="491" y="365"/>
                  </a:lnTo>
                  <a:lnTo>
                    <a:pt x="491" y="368"/>
                  </a:lnTo>
                  <a:lnTo>
                    <a:pt x="491" y="368"/>
                  </a:lnTo>
                  <a:lnTo>
                    <a:pt x="491" y="368"/>
                  </a:lnTo>
                  <a:lnTo>
                    <a:pt x="491" y="367"/>
                  </a:lnTo>
                  <a:lnTo>
                    <a:pt x="490" y="365"/>
                  </a:lnTo>
                  <a:lnTo>
                    <a:pt x="490" y="365"/>
                  </a:lnTo>
                  <a:lnTo>
                    <a:pt x="490" y="368"/>
                  </a:lnTo>
                  <a:lnTo>
                    <a:pt x="491" y="370"/>
                  </a:lnTo>
                  <a:lnTo>
                    <a:pt x="491" y="372"/>
                  </a:lnTo>
                  <a:lnTo>
                    <a:pt x="490" y="370"/>
                  </a:lnTo>
                  <a:lnTo>
                    <a:pt x="490" y="369"/>
                  </a:lnTo>
                  <a:lnTo>
                    <a:pt x="489" y="367"/>
                  </a:lnTo>
                  <a:lnTo>
                    <a:pt x="489" y="369"/>
                  </a:lnTo>
                  <a:lnTo>
                    <a:pt x="490" y="372"/>
                  </a:lnTo>
                  <a:lnTo>
                    <a:pt x="490" y="374"/>
                  </a:lnTo>
                  <a:lnTo>
                    <a:pt x="490" y="376"/>
                  </a:lnTo>
                  <a:lnTo>
                    <a:pt x="490" y="374"/>
                  </a:lnTo>
                  <a:lnTo>
                    <a:pt x="490" y="376"/>
                  </a:lnTo>
                  <a:lnTo>
                    <a:pt x="492" y="385"/>
                  </a:lnTo>
                  <a:lnTo>
                    <a:pt x="487" y="378"/>
                  </a:lnTo>
                  <a:lnTo>
                    <a:pt x="487" y="380"/>
                  </a:lnTo>
                  <a:lnTo>
                    <a:pt x="487" y="381"/>
                  </a:lnTo>
                  <a:lnTo>
                    <a:pt x="487" y="380"/>
                  </a:lnTo>
                  <a:lnTo>
                    <a:pt x="486" y="378"/>
                  </a:lnTo>
                  <a:lnTo>
                    <a:pt x="485" y="376"/>
                  </a:lnTo>
                  <a:lnTo>
                    <a:pt x="485" y="374"/>
                  </a:lnTo>
                  <a:lnTo>
                    <a:pt x="483" y="373"/>
                  </a:lnTo>
                  <a:lnTo>
                    <a:pt x="485" y="377"/>
                  </a:lnTo>
                  <a:lnTo>
                    <a:pt x="485" y="380"/>
                  </a:lnTo>
                  <a:lnTo>
                    <a:pt x="486" y="382"/>
                  </a:lnTo>
                  <a:lnTo>
                    <a:pt x="489" y="385"/>
                  </a:lnTo>
                  <a:lnTo>
                    <a:pt x="486" y="383"/>
                  </a:lnTo>
                  <a:lnTo>
                    <a:pt x="486" y="385"/>
                  </a:lnTo>
                  <a:lnTo>
                    <a:pt x="486" y="385"/>
                  </a:lnTo>
                  <a:lnTo>
                    <a:pt x="486" y="385"/>
                  </a:lnTo>
                  <a:lnTo>
                    <a:pt x="485" y="383"/>
                  </a:lnTo>
                  <a:lnTo>
                    <a:pt x="483" y="381"/>
                  </a:lnTo>
                  <a:lnTo>
                    <a:pt x="482" y="378"/>
                  </a:lnTo>
                  <a:lnTo>
                    <a:pt x="482" y="381"/>
                  </a:lnTo>
                  <a:lnTo>
                    <a:pt x="487" y="390"/>
                  </a:lnTo>
                  <a:lnTo>
                    <a:pt x="485" y="389"/>
                  </a:lnTo>
                  <a:lnTo>
                    <a:pt x="482" y="387"/>
                  </a:lnTo>
                  <a:lnTo>
                    <a:pt x="482" y="387"/>
                  </a:lnTo>
                  <a:lnTo>
                    <a:pt x="482" y="387"/>
                  </a:lnTo>
                  <a:lnTo>
                    <a:pt x="483" y="390"/>
                  </a:lnTo>
                  <a:lnTo>
                    <a:pt x="483" y="391"/>
                  </a:lnTo>
                  <a:lnTo>
                    <a:pt x="483" y="391"/>
                  </a:lnTo>
                  <a:lnTo>
                    <a:pt x="483" y="391"/>
                  </a:lnTo>
                  <a:lnTo>
                    <a:pt x="482" y="390"/>
                  </a:lnTo>
                  <a:lnTo>
                    <a:pt x="487" y="400"/>
                  </a:lnTo>
                  <a:lnTo>
                    <a:pt x="483" y="396"/>
                  </a:lnTo>
                  <a:lnTo>
                    <a:pt x="478" y="392"/>
                  </a:lnTo>
                  <a:lnTo>
                    <a:pt x="481" y="398"/>
                  </a:lnTo>
                  <a:lnTo>
                    <a:pt x="483" y="403"/>
                  </a:lnTo>
                  <a:lnTo>
                    <a:pt x="486" y="408"/>
                  </a:lnTo>
                  <a:lnTo>
                    <a:pt x="482" y="404"/>
                  </a:lnTo>
                  <a:lnTo>
                    <a:pt x="478" y="400"/>
                  </a:lnTo>
                  <a:lnTo>
                    <a:pt x="474" y="396"/>
                  </a:lnTo>
                  <a:lnTo>
                    <a:pt x="476" y="401"/>
                  </a:lnTo>
                  <a:lnTo>
                    <a:pt x="478" y="407"/>
                  </a:lnTo>
                  <a:lnTo>
                    <a:pt x="481" y="412"/>
                  </a:lnTo>
                  <a:lnTo>
                    <a:pt x="485" y="416"/>
                  </a:lnTo>
                  <a:lnTo>
                    <a:pt x="481" y="414"/>
                  </a:lnTo>
                  <a:lnTo>
                    <a:pt x="478" y="410"/>
                  </a:lnTo>
                  <a:lnTo>
                    <a:pt x="476" y="408"/>
                  </a:lnTo>
                  <a:lnTo>
                    <a:pt x="477" y="410"/>
                  </a:lnTo>
                  <a:lnTo>
                    <a:pt x="477" y="410"/>
                  </a:lnTo>
                  <a:lnTo>
                    <a:pt x="477" y="410"/>
                  </a:lnTo>
                  <a:lnTo>
                    <a:pt x="476" y="408"/>
                  </a:lnTo>
                  <a:lnTo>
                    <a:pt x="476" y="412"/>
                  </a:lnTo>
                  <a:lnTo>
                    <a:pt x="477" y="412"/>
                  </a:lnTo>
                  <a:lnTo>
                    <a:pt x="476" y="410"/>
                  </a:lnTo>
                  <a:lnTo>
                    <a:pt x="476" y="410"/>
                  </a:lnTo>
                  <a:lnTo>
                    <a:pt x="478" y="416"/>
                  </a:lnTo>
                  <a:lnTo>
                    <a:pt x="481" y="421"/>
                  </a:lnTo>
                  <a:lnTo>
                    <a:pt x="482" y="426"/>
                  </a:lnTo>
                  <a:lnTo>
                    <a:pt x="485" y="430"/>
                  </a:lnTo>
                  <a:lnTo>
                    <a:pt x="485" y="432"/>
                  </a:lnTo>
                  <a:lnTo>
                    <a:pt x="486" y="434"/>
                  </a:lnTo>
                  <a:lnTo>
                    <a:pt x="486" y="435"/>
                  </a:lnTo>
                  <a:lnTo>
                    <a:pt x="483" y="430"/>
                  </a:lnTo>
                  <a:lnTo>
                    <a:pt x="482" y="432"/>
                  </a:lnTo>
                  <a:lnTo>
                    <a:pt x="481" y="432"/>
                  </a:lnTo>
                  <a:lnTo>
                    <a:pt x="481" y="432"/>
                  </a:lnTo>
                  <a:lnTo>
                    <a:pt x="481" y="434"/>
                  </a:lnTo>
                  <a:lnTo>
                    <a:pt x="481" y="432"/>
                  </a:lnTo>
                  <a:lnTo>
                    <a:pt x="480" y="432"/>
                  </a:lnTo>
                  <a:lnTo>
                    <a:pt x="480" y="431"/>
                  </a:lnTo>
                  <a:lnTo>
                    <a:pt x="481" y="435"/>
                  </a:lnTo>
                  <a:lnTo>
                    <a:pt x="482" y="436"/>
                  </a:lnTo>
                  <a:lnTo>
                    <a:pt x="482" y="438"/>
                  </a:lnTo>
                  <a:lnTo>
                    <a:pt x="482" y="436"/>
                  </a:lnTo>
                  <a:lnTo>
                    <a:pt x="481" y="436"/>
                  </a:lnTo>
                  <a:lnTo>
                    <a:pt x="483" y="439"/>
                  </a:lnTo>
                  <a:lnTo>
                    <a:pt x="483" y="441"/>
                  </a:lnTo>
                  <a:lnTo>
                    <a:pt x="485" y="443"/>
                  </a:lnTo>
                  <a:lnTo>
                    <a:pt x="485" y="443"/>
                  </a:lnTo>
                  <a:lnTo>
                    <a:pt x="478" y="435"/>
                  </a:lnTo>
                  <a:lnTo>
                    <a:pt x="476" y="430"/>
                  </a:lnTo>
                  <a:lnTo>
                    <a:pt x="472" y="425"/>
                  </a:lnTo>
                  <a:lnTo>
                    <a:pt x="468" y="422"/>
                  </a:lnTo>
                  <a:lnTo>
                    <a:pt x="469" y="425"/>
                  </a:lnTo>
                  <a:lnTo>
                    <a:pt x="472" y="427"/>
                  </a:lnTo>
                  <a:lnTo>
                    <a:pt x="472" y="429"/>
                  </a:lnTo>
                  <a:lnTo>
                    <a:pt x="476" y="432"/>
                  </a:lnTo>
                  <a:lnTo>
                    <a:pt x="478" y="436"/>
                  </a:lnTo>
                  <a:lnTo>
                    <a:pt x="480" y="440"/>
                  </a:lnTo>
                  <a:lnTo>
                    <a:pt x="481" y="441"/>
                  </a:lnTo>
                  <a:lnTo>
                    <a:pt x="482" y="444"/>
                  </a:lnTo>
                  <a:lnTo>
                    <a:pt x="482" y="444"/>
                  </a:lnTo>
                  <a:lnTo>
                    <a:pt x="482" y="444"/>
                  </a:lnTo>
                  <a:lnTo>
                    <a:pt x="481" y="441"/>
                  </a:lnTo>
                  <a:lnTo>
                    <a:pt x="478" y="439"/>
                  </a:lnTo>
                  <a:lnTo>
                    <a:pt x="482" y="445"/>
                  </a:lnTo>
                  <a:lnTo>
                    <a:pt x="486" y="451"/>
                  </a:lnTo>
                  <a:lnTo>
                    <a:pt x="487" y="454"/>
                  </a:lnTo>
                  <a:lnTo>
                    <a:pt x="490" y="457"/>
                  </a:lnTo>
                  <a:lnTo>
                    <a:pt x="492" y="461"/>
                  </a:lnTo>
                  <a:lnTo>
                    <a:pt x="492" y="462"/>
                  </a:lnTo>
                  <a:lnTo>
                    <a:pt x="494" y="462"/>
                  </a:lnTo>
                  <a:lnTo>
                    <a:pt x="492" y="462"/>
                  </a:lnTo>
                  <a:lnTo>
                    <a:pt x="491" y="461"/>
                  </a:lnTo>
                  <a:lnTo>
                    <a:pt x="490" y="460"/>
                  </a:lnTo>
                  <a:lnTo>
                    <a:pt x="494" y="463"/>
                  </a:lnTo>
                  <a:lnTo>
                    <a:pt x="495" y="467"/>
                  </a:lnTo>
                  <a:lnTo>
                    <a:pt x="498" y="472"/>
                  </a:lnTo>
                  <a:lnTo>
                    <a:pt x="499" y="475"/>
                  </a:lnTo>
                  <a:lnTo>
                    <a:pt x="500" y="478"/>
                  </a:lnTo>
                  <a:lnTo>
                    <a:pt x="500" y="479"/>
                  </a:lnTo>
                  <a:lnTo>
                    <a:pt x="499" y="478"/>
                  </a:lnTo>
                  <a:lnTo>
                    <a:pt x="499" y="476"/>
                  </a:lnTo>
                  <a:lnTo>
                    <a:pt x="496" y="472"/>
                  </a:lnTo>
                  <a:lnTo>
                    <a:pt x="494" y="469"/>
                  </a:lnTo>
                  <a:lnTo>
                    <a:pt x="490" y="465"/>
                  </a:lnTo>
                  <a:lnTo>
                    <a:pt x="486" y="460"/>
                  </a:lnTo>
                  <a:lnTo>
                    <a:pt x="482" y="456"/>
                  </a:lnTo>
                  <a:lnTo>
                    <a:pt x="486" y="462"/>
                  </a:lnTo>
                  <a:lnTo>
                    <a:pt x="490" y="467"/>
                  </a:lnTo>
                  <a:lnTo>
                    <a:pt x="492" y="472"/>
                  </a:lnTo>
                  <a:lnTo>
                    <a:pt x="495" y="476"/>
                  </a:lnTo>
                  <a:lnTo>
                    <a:pt x="498" y="480"/>
                  </a:lnTo>
                  <a:lnTo>
                    <a:pt x="499" y="483"/>
                  </a:lnTo>
                  <a:lnTo>
                    <a:pt x="500" y="485"/>
                  </a:lnTo>
                  <a:lnTo>
                    <a:pt x="500" y="485"/>
                  </a:lnTo>
                  <a:lnTo>
                    <a:pt x="499" y="485"/>
                  </a:lnTo>
                  <a:lnTo>
                    <a:pt x="498" y="484"/>
                  </a:lnTo>
                  <a:lnTo>
                    <a:pt x="496" y="482"/>
                  </a:lnTo>
                  <a:lnTo>
                    <a:pt x="496" y="482"/>
                  </a:lnTo>
                  <a:lnTo>
                    <a:pt x="501" y="488"/>
                  </a:lnTo>
                  <a:lnTo>
                    <a:pt x="505" y="494"/>
                  </a:lnTo>
                  <a:lnTo>
                    <a:pt x="508" y="501"/>
                  </a:lnTo>
                  <a:lnTo>
                    <a:pt x="510" y="505"/>
                  </a:lnTo>
                  <a:lnTo>
                    <a:pt x="512" y="509"/>
                  </a:lnTo>
                  <a:lnTo>
                    <a:pt x="513" y="511"/>
                  </a:lnTo>
                  <a:lnTo>
                    <a:pt x="513" y="513"/>
                  </a:lnTo>
                  <a:lnTo>
                    <a:pt x="513" y="511"/>
                  </a:lnTo>
                  <a:lnTo>
                    <a:pt x="512" y="510"/>
                  </a:lnTo>
                  <a:lnTo>
                    <a:pt x="510" y="507"/>
                  </a:lnTo>
                  <a:lnTo>
                    <a:pt x="508" y="503"/>
                  </a:lnTo>
                  <a:lnTo>
                    <a:pt x="510" y="509"/>
                  </a:lnTo>
                  <a:lnTo>
                    <a:pt x="517" y="522"/>
                  </a:lnTo>
                  <a:lnTo>
                    <a:pt x="520" y="528"/>
                  </a:lnTo>
                  <a:lnTo>
                    <a:pt x="522" y="533"/>
                  </a:lnTo>
                  <a:lnTo>
                    <a:pt x="527" y="540"/>
                  </a:lnTo>
                  <a:lnTo>
                    <a:pt x="531" y="546"/>
                  </a:lnTo>
                  <a:lnTo>
                    <a:pt x="535" y="551"/>
                  </a:lnTo>
                  <a:lnTo>
                    <a:pt x="538" y="554"/>
                  </a:lnTo>
                  <a:lnTo>
                    <a:pt x="540" y="556"/>
                  </a:lnTo>
                  <a:lnTo>
                    <a:pt x="541" y="558"/>
                  </a:lnTo>
                  <a:lnTo>
                    <a:pt x="541" y="558"/>
                  </a:lnTo>
                  <a:lnTo>
                    <a:pt x="541" y="558"/>
                  </a:lnTo>
                  <a:lnTo>
                    <a:pt x="540" y="556"/>
                  </a:lnTo>
                  <a:lnTo>
                    <a:pt x="538" y="556"/>
                  </a:lnTo>
                  <a:lnTo>
                    <a:pt x="535" y="554"/>
                  </a:lnTo>
                  <a:lnTo>
                    <a:pt x="536" y="555"/>
                  </a:lnTo>
                  <a:lnTo>
                    <a:pt x="541" y="559"/>
                  </a:lnTo>
                  <a:lnTo>
                    <a:pt x="548" y="564"/>
                  </a:lnTo>
                  <a:lnTo>
                    <a:pt x="552" y="567"/>
                  </a:lnTo>
                  <a:lnTo>
                    <a:pt x="556" y="571"/>
                  </a:lnTo>
                  <a:lnTo>
                    <a:pt x="559" y="574"/>
                  </a:lnTo>
                  <a:lnTo>
                    <a:pt x="561" y="577"/>
                  </a:lnTo>
                  <a:lnTo>
                    <a:pt x="563" y="581"/>
                  </a:lnTo>
                  <a:lnTo>
                    <a:pt x="563" y="584"/>
                  </a:lnTo>
                  <a:lnTo>
                    <a:pt x="565" y="584"/>
                  </a:lnTo>
                  <a:lnTo>
                    <a:pt x="563" y="584"/>
                  </a:lnTo>
                  <a:lnTo>
                    <a:pt x="563" y="582"/>
                  </a:lnTo>
                  <a:lnTo>
                    <a:pt x="562" y="581"/>
                  </a:lnTo>
                  <a:lnTo>
                    <a:pt x="559" y="578"/>
                  </a:lnTo>
                  <a:lnTo>
                    <a:pt x="556" y="574"/>
                  </a:lnTo>
                  <a:lnTo>
                    <a:pt x="552" y="572"/>
                  </a:lnTo>
                  <a:lnTo>
                    <a:pt x="545" y="567"/>
                  </a:lnTo>
                  <a:lnTo>
                    <a:pt x="541" y="564"/>
                  </a:lnTo>
                  <a:lnTo>
                    <a:pt x="543" y="565"/>
                  </a:lnTo>
                  <a:lnTo>
                    <a:pt x="547" y="568"/>
                  </a:lnTo>
                  <a:lnTo>
                    <a:pt x="550" y="573"/>
                  </a:lnTo>
                  <a:lnTo>
                    <a:pt x="556" y="577"/>
                  </a:lnTo>
                  <a:lnTo>
                    <a:pt x="558" y="582"/>
                  </a:lnTo>
                  <a:lnTo>
                    <a:pt x="559" y="584"/>
                  </a:lnTo>
                  <a:lnTo>
                    <a:pt x="561" y="585"/>
                  </a:lnTo>
                  <a:lnTo>
                    <a:pt x="574" y="598"/>
                  </a:lnTo>
                  <a:lnTo>
                    <a:pt x="584" y="612"/>
                  </a:lnTo>
                  <a:lnTo>
                    <a:pt x="580" y="611"/>
                  </a:lnTo>
                  <a:lnTo>
                    <a:pt x="584" y="617"/>
                  </a:lnTo>
                  <a:lnTo>
                    <a:pt x="585" y="622"/>
                  </a:lnTo>
                  <a:lnTo>
                    <a:pt x="588" y="627"/>
                  </a:lnTo>
                  <a:lnTo>
                    <a:pt x="588" y="627"/>
                  </a:lnTo>
                  <a:lnTo>
                    <a:pt x="589" y="631"/>
                  </a:lnTo>
                  <a:lnTo>
                    <a:pt x="592" y="634"/>
                  </a:lnTo>
                  <a:lnTo>
                    <a:pt x="593" y="636"/>
                  </a:lnTo>
                  <a:lnTo>
                    <a:pt x="593" y="639"/>
                  </a:lnTo>
                  <a:lnTo>
                    <a:pt x="593" y="639"/>
                  </a:lnTo>
                  <a:lnTo>
                    <a:pt x="593" y="639"/>
                  </a:lnTo>
                  <a:lnTo>
                    <a:pt x="592" y="638"/>
                  </a:lnTo>
                  <a:lnTo>
                    <a:pt x="589" y="635"/>
                  </a:lnTo>
                  <a:lnTo>
                    <a:pt x="589" y="636"/>
                  </a:lnTo>
                  <a:lnTo>
                    <a:pt x="592" y="643"/>
                  </a:lnTo>
                  <a:lnTo>
                    <a:pt x="593" y="649"/>
                  </a:lnTo>
                  <a:lnTo>
                    <a:pt x="593" y="655"/>
                  </a:lnTo>
                  <a:lnTo>
                    <a:pt x="593" y="657"/>
                  </a:lnTo>
                  <a:lnTo>
                    <a:pt x="593" y="658"/>
                  </a:lnTo>
                  <a:lnTo>
                    <a:pt x="593" y="658"/>
                  </a:lnTo>
                  <a:lnTo>
                    <a:pt x="593" y="656"/>
                  </a:lnTo>
                  <a:lnTo>
                    <a:pt x="592" y="653"/>
                  </a:lnTo>
                  <a:lnTo>
                    <a:pt x="590" y="651"/>
                  </a:lnTo>
                  <a:lnTo>
                    <a:pt x="590" y="649"/>
                  </a:lnTo>
                  <a:lnTo>
                    <a:pt x="592" y="657"/>
                  </a:lnTo>
                  <a:lnTo>
                    <a:pt x="592" y="670"/>
                  </a:lnTo>
                  <a:lnTo>
                    <a:pt x="590" y="684"/>
                  </a:lnTo>
                  <a:lnTo>
                    <a:pt x="592" y="698"/>
                  </a:lnTo>
                  <a:lnTo>
                    <a:pt x="589" y="698"/>
                  </a:lnTo>
                  <a:lnTo>
                    <a:pt x="585" y="697"/>
                  </a:lnTo>
                  <a:lnTo>
                    <a:pt x="583" y="696"/>
                  </a:lnTo>
                  <a:lnTo>
                    <a:pt x="581" y="693"/>
                  </a:lnTo>
                  <a:lnTo>
                    <a:pt x="579" y="691"/>
                  </a:lnTo>
                  <a:lnTo>
                    <a:pt x="578" y="687"/>
                  </a:lnTo>
                  <a:lnTo>
                    <a:pt x="576" y="684"/>
                  </a:lnTo>
                  <a:lnTo>
                    <a:pt x="576" y="682"/>
                  </a:lnTo>
                  <a:lnTo>
                    <a:pt x="576" y="682"/>
                  </a:lnTo>
                  <a:lnTo>
                    <a:pt x="578" y="682"/>
                  </a:lnTo>
                  <a:lnTo>
                    <a:pt x="576" y="674"/>
                  </a:lnTo>
                  <a:lnTo>
                    <a:pt x="575" y="671"/>
                  </a:lnTo>
                  <a:lnTo>
                    <a:pt x="575" y="669"/>
                  </a:lnTo>
                  <a:lnTo>
                    <a:pt x="574" y="673"/>
                  </a:lnTo>
                  <a:lnTo>
                    <a:pt x="574" y="674"/>
                  </a:lnTo>
                  <a:lnTo>
                    <a:pt x="574" y="675"/>
                  </a:lnTo>
                  <a:lnTo>
                    <a:pt x="572" y="678"/>
                  </a:lnTo>
                  <a:lnTo>
                    <a:pt x="571" y="682"/>
                  </a:lnTo>
                  <a:lnTo>
                    <a:pt x="570" y="684"/>
                  </a:lnTo>
                  <a:lnTo>
                    <a:pt x="570" y="686"/>
                  </a:lnTo>
                  <a:lnTo>
                    <a:pt x="570" y="686"/>
                  </a:lnTo>
                  <a:lnTo>
                    <a:pt x="570" y="686"/>
                  </a:lnTo>
                  <a:lnTo>
                    <a:pt x="568" y="687"/>
                  </a:lnTo>
                  <a:lnTo>
                    <a:pt x="567" y="689"/>
                  </a:lnTo>
                  <a:lnTo>
                    <a:pt x="563" y="692"/>
                  </a:lnTo>
                  <a:lnTo>
                    <a:pt x="566" y="691"/>
                  </a:lnTo>
                  <a:lnTo>
                    <a:pt x="568" y="689"/>
                  </a:lnTo>
                  <a:lnTo>
                    <a:pt x="568" y="689"/>
                  </a:lnTo>
                  <a:lnTo>
                    <a:pt x="562" y="696"/>
                  </a:lnTo>
                  <a:lnTo>
                    <a:pt x="558" y="700"/>
                  </a:lnTo>
                  <a:lnTo>
                    <a:pt x="554" y="705"/>
                  </a:lnTo>
                  <a:lnTo>
                    <a:pt x="549" y="710"/>
                  </a:lnTo>
                  <a:lnTo>
                    <a:pt x="548" y="711"/>
                  </a:lnTo>
                  <a:lnTo>
                    <a:pt x="548" y="713"/>
                  </a:lnTo>
                  <a:lnTo>
                    <a:pt x="548" y="711"/>
                  </a:lnTo>
                  <a:lnTo>
                    <a:pt x="540" y="718"/>
                  </a:lnTo>
                  <a:lnTo>
                    <a:pt x="536" y="722"/>
                  </a:lnTo>
                  <a:lnTo>
                    <a:pt x="532" y="724"/>
                  </a:lnTo>
                  <a:lnTo>
                    <a:pt x="530" y="722"/>
                  </a:lnTo>
                  <a:lnTo>
                    <a:pt x="530" y="722"/>
                  </a:lnTo>
                  <a:lnTo>
                    <a:pt x="530" y="722"/>
                  </a:lnTo>
                  <a:lnTo>
                    <a:pt x="529" y="720"/>
                  </a:lnTo>
                  <a:lnTo>
                    <a:pt x="526" y="718"/>
                  </a:lnTo>
                  <a:lnTo>
                    <a:pt x="525" y="717"/>
                  </a:lnTo>
                  <a:lnTo>
                    <a:pt x="522" y="715"/>
                  </a:lnTo>
                  <a:lnTo>
                    <a:pt x="521" y="713"/>
                  </a:lnTo>
                  <a:lnTo>
                    <a:pt x="520" y="710"/>
                  </a:lnTo>
                  <a:lnTo>
                    <a:pt x="518" y="708"/>
                  </a:lnTo>
                  <a:lnTo>
                    <a:pt x="518" y="705"/>
                  </a:lnTo>
                  <a:lnTo>
                    <a:pt x="518" y="705"/>
                  </a:lnTo>
                  <a:lnTo>
                    <a:pt x="518" y="705"/>
                  </a:lnTo>
                  <a:lnTo>
                    <a:pt x="520" y="706"/>
                  </a:lnTo>
                  <a:lnTo>
                    <a:pt x="521" y="706"/>
                  </a:lnTo>
                  <a:lnTo>
                    <a:pt x="520" y="704"/>
                  </a:lnTo>
                  <a:lnTo>
                    <a:pt x="520" y="701"/>
                  </a:lnTo>
                  <a:lnTo>
                    <a:pt x="520" y="701"/>
                  </a:lnTo>
                  <a:lnTo>
                    <a:pt x="517" y="700"/>
                  </a:lnTo>
                  <a:lnTo>
                    <a:pt x="516" y="697"/>
                  </a:lnTo>
                  <a:lnTo>
                    <a:pt x="514" y="696"/>
                  </a:lnTo>
                  <a:lnTo>
                    <a:pt x="514" y="693"/>
                  </a:lnTo>
                  <a:lnTo>
                    <a:pt x="514" y="692"/>
                  </a:lnTo>
                  <a:lnTo>
                    <a:pt x="514" y="689"/>
                  </a:lnTo>
                  <a:lnTo>
                    <a:pt x="514" y="687"/>
                  </a:lnTo>
                  <a:lnTo>
                    <a:pt x="516" y="683"/>
                  </a:lnTo>
                  <a:lnTo>
                    <a:pt x="517" y="679"/>
                  </a:lnTo>
                  <a:lnTo>
                    <a:pt x="520" y="675"/>
                  </a:lnTo>
                  <a:lnTo>
                    <a:pt x="520" y="675"/>
                  </a:lnTo>
                  <a:lnTo>
                    <a:pt x="520" y="675"/>
                  </a:lnTo>
                  <a:lnTo>
                    <a:pt x="514" y="679"/>
                  </a:lnTo>
                  <a:lnTo>
                    <a:pt x="510" y="684"/>
                  </a:lnTo>
                  <a:lnTo>
                    <a:pt x="505" y="688"/>
                  </a:lnTo>
                  <a:lnTo>
                    <a:pt x="504" y="678"/>
                  </a:lnTo>
                  <a:lnTo>
                    <a:pt x="508" y="669"/>
                  </a:lnTo>
                  <a:lnTo>
                    <a:pt x="514" y="660"/>
                  </a:lnTo>
                  <a:lnTo>
                    <a:pt x="520" y="651"/>
                  </a:lnTo>
                  <a:lnTo>
                    <a:pt x="521" y="642"/>
                  </a:lnTo>
                  <a:lnTo>
                    <a:pt x="518" y="631"/>
                  </a:lnTo>
                  <a:lnTo>
                    <a:pt x="517" y="621"/>
                  </a:lnTo>
                  <a:lnTo>
                    <a:pt x="516" y="618"/>
                  </a:lnTo>
                  <a:lnTo>
                    <a:pt x="513" y="616"/>
                  </a:lnTo>
                  <a:lnTo>
                    <a:pt x="509" y="613"/>
                  </a:lnTo>
                  <a:lnTo>
                    <a:pt x="505" y="608"/>
                  </a:lnTo>
                  <a:lnTo>
                    <a:pt x="507" y="611"/>
                  </a:lnTo>
                  <a:lnTo>
                    <a:pt x="507" y="613"/>
                  </a:lnTo>
                  <a:lnTo>
                    <a:pt x="507" y="615"/>
                  </a:lnTo>
                  <a:lnTo>
                    <a:pt x="503" y="605"/>
                  </a:lnTo>
                  <a:lnTo>
                    <a:pt x="500" y="600"/>
                  </a:lnTo>
                  <a:lnTo>
                    <a:pt x="498" y="594"/>
                  </a:lnTo>
                  <a:lnTo>
                    <a:pt x="494" y="587"/>
                  </a:lnTo>
                  <a:lnTo>
                    <a:pt x="492" y="584"/>
                  </a:lnTo>
                  <a:lnTo>
                    <a:pt x="492" y="585"/>
                  </a:lnTo>
                  <a:lnTo>
                    <a:pt x="494" y="586"/>
                  </a:lnTo>
                  <a:lnTo>
                    <a:pt x="492" y="585"/>
                  </a:lnTo>
                  <a:lnTo>
                    <a:pt x="491" y="584"/>
                  </a:lnTo>
                  <a:lnTo>
                    <a:pt x="490" y="582"/>
                  </a:lnTo>
                  <a:lnTo>
                    <a:pt x="489" y="580"/>
                  </a:lnTo>
                  <a:lnTo>
                    <a:pt x="486" y="577"/>
                  </a:lnTo>
                  <a:lnTo>
                    <a:pt x="487" y="580"/>
                  </a:lnTo>
                  <a:lnTo>
                    <a:pt x="492" y="589"/>
                  </a:lnTo>
                  <a:lnTo>
                    <a:pt x="496" y="596"/>
                  </a:lnTo>
                  <a:lnTo>
                    <a:pt x="499" y="603"/>
                  </a:lnTo>
                  <a:lnTo>
                    <a:pt x="500" y="604"/>
                  </a:lnTo>
                  <a:lnTo>
                    <a:pt x="499" y="603"/>
                  </a:lnTo>
                  <a:lnTo>
                    <a:pt x="495" y="598"/>
                  </a:lnTo>
                  <a:lnTo>
                    <a:pt x="490" y="590"/>
                  </a:lnTo>
                  <a:lnTo>
                    <a:pt x="483" y="581"/>
                  </a:lnTo>
                  <a:lnTo>
                    <a:pt x="480" y="574"/>
                  </a:lnTo>
                  <a:lnTo>
                    <a:pt x="476" y="571"/>
                  </a:lnTo>
                  <a:lnTo>
                    <a:pt x="477" y="574"/>
                  </a:lnTo>
                  <a:lnTo>
                    <a:pt x="478" y="577"/>
                  </a:lnTo>
                  <a:lnTo>
                    <a:pt x="478" y="578"/>
                  </a:lnTo>
                  <a:lnTo>
                    <a:pt x="478" y="577"/>
                  </a:lnTo>
                  <a:lnTo>
                    <a:pt x="477" y="576"/>
                  </a:lnTo>
                  <a:lnTo>
                    <a:pt x="476" y="573"/>
                  </a:lnTo>
                  <a:lnTo>
                    <a:pt x="474" y="571"/>
                  </a:lnTo>
                  <a:lnTo>
                    <a:pt x="474" y="573"/>
                  </a:lnTo>
                  <a:lnTo>
                    <a:pt x="476" y="574"/>
                  </a:lnTo>
                  <a:lnTo>
                    <a:pt x="476" y="574"/>
                  </a:lnTo>
                  <a:lnTo>
                    <a:pt x="474" y="574"/>
                  </a:lnTo>
                  <a:lnTo>
                    <a:pt x="474" y="572"/>
                  </a:lnTo>
                  <a:lnTo>
                    <a:pt x="472" y="568"/>
                  </a:lnTo>
                  <a:lnTo>
                    <a:pt x="471" y="564"/>
                  </a:lnTo>
                  <a:lnTo>
                    <a:pt x="469" y="563"/>
                  </a:lnTo>
                  <a:lnTo>
                    <a:pt x="469" y="562"/>
                  </a:lnTo>
                  <a:lnTo>
                    <a:pt x="468" y="560"/>
                  </a:lnTo>
                  <a:lnTo>
                    <a:pt x="469" y="564"/>
                  </a:lnTo>
                  <a:lnTo>
                    <a:pt x="471" y="567"/>
                  </a:lnTo>
                  <a:lnTo>
                    <a:pt x="471" y="568"/>
                  </a:lnTo>
                  <a:lnTo>
                    <a:pt x="471" y="569"/>
                  </a:lnTo>
                  <a:lnTo>
                    <a:pt x="471" y="568"/>
                  </a:lnTo>
                  <a:lnTo>
                    <a:pt x="469" y="568"/>
                  </a:lnTo>
                  <a:lnTo>
                    <a:pt x="468" y="565"/>
                  </a:lnTo>
                  <a:lnTo>
                    <a:pt x="467" y="565"/>
                  </a:lnTo>
                  <a:lnTo>
                    <a:pt x="468" y="568"/>
                  </a:lnTo>
                  <a:lnTo>
                    <a:pt x="471" y="571"/>
                  </a:lnTo>
                  <a:lnTo>
                    <a:pt x="471" y="573"/>
                  </a:lnTo>
                  <a:lnTo>
                    <a:pt x="471" y="574"/>
                  </a:lnTo>
                  <a:lnTo>
                    <a:pt x="471" y="573"/>
                  </a:lnTo>
                  <a:lnTo>
                    <a:pt x="472" y="576"/>
                  </a:lnTo>
                  <a:lnTo>
                    <a:pt x="472" y="577"/>
                  </a:lnTo>
                  <a:lnTo>
                    <a:pt x="473" y="577"/>
                  </a:lnTo>
                  <a:lnTo>
                    <a:pt x="465" y="568"/>
                  </a:lnTo>
                  <a:lnTo>
                    <a:pt x="463" y="564"/>
                  </a:lnTo>
                  <a:lnTo>
                    <a:pt x="463" y="568"/>
                  </a:lnTo>
                  <a:lnTo>
                    <a:pt x="463" y="569"/>
                  </a:lnTo>
                  <a:lnTo>
                    <a:pt x="464" y="569"/>
                  </a:lnTo>
                  <a:lnTo>
                    <a:pt x="464" y="569"/>
                  </a:lnTo>
                  <a:lnTo>
                    <a:pt x="463" y="569"/>
                  </a:lnTo>
                  <a:lnTo>
                    <a:pt x="463" y="569"/>
                  </a:lnTo>
                  <a:lnTo>
                    <a:pt x="463" y="569"/>
                  </a:lnTo>
                  <a:lnTo>
                    <a:pt x="463" y="569"/>
                  </a:lnTo>
                  <a:lnTo>
                    <a:pt x="463" y="569"/>
                  </a:lnTo>
                  <a:lnTo>
                    <a:pt x="463" y="569"/>
                  </a:lnTo>
                  <a:lnTo>
                    <a:pt x="463" y="568"/>
                  </a:lnTo>
                  <a:lnTo>
                    <a:pt x="459" y="562"/>
                  </a:lnTo>
                  <a:lnTo>
                    <a:pt x="458" y="558"/>
                  </a:lnTo>
                  <a:lnTo>
                    <a:pt x="454" y="554"/>
                  </a:lnTo>
                  <a:lnTo>
                    <a:pt x="458" y="560"/>
                  </a:lnTo>
                  <a:lnTo>
                    <a:pt x="460" y="565"/>
                  </a:lnTo>
                  <a:lnTo>
                    <a:pt x="467" y="577"/>
                  </a:lnTo>
                  <a:lnTo>
                    <a:pt x="471" y="585"/>
                  </a:lnTo>
                  <a:lnTo>
                    <a:pt x="473" y="589"/>
                  </a:lnTo>
                  <a:lnTo>
                    <a:pt x="472" y="587"/>
                  </a:lnTo>
                  <a:lnTo>
                    <a:pt x="471" y="586"/>
                  </a:lnTo>
                  <a:lnTo>
                    <a:pt x="468" y="584"/>
                  </a:lnTo>
                  <a:lnTo>
                    <a:pt x="465" y="580"/>
                  </a:lnTo>
                  <a:lnTo>
                    <a:pt x="461" y="574"/>
                  </a:lnTo>
                  <a:lnTo>
                    <a:pt x="461" y="576"/>
                  </a:lnTo>
                  <a:lnTo>
                    <a:pt x="461" y="577"/>
                  </a:lnTo>
                  <a:lnTo>
                    <a:pt x="461" y="576"/>
                  </a:lnTo>
                  <a:lnTo>
                    <a:pt x="461" y="573"/>
                  </a:lnTo>
                  <a:lnTo>
                    <a:pt x="458" y="568"/>
                  </a:lnTo>
                  <a:lnTo>
                    <a:pt x="460" y="573"/>
                  </a:lnTo>
                  <a:lnTo>
                    <a:pt x="461" y="578"/>
                  </a:lnTo>
                  <a:lnTo>
                    <a:pt x="463" y="584"/>
                  </a:lnTo>
                  <a:lnTo>
                    <a:pt x="463" y="587"/>
                  </a:lnTo>
                  <a:lnTo>
                    <a:pt x="467" y="591"/>
                  </a:lnTo>
                  <a:lnTo>
                    <a:pt x="469" y="596"/>
                  </a:lnTo>
                  <a:lnTo>
                    <a:pt x="472" y="600"/>
                  </a:lnTo>
                  <a:lnTo>
                    <a:pt x="473" y="604"/>
                  </a:lnTo>
                  <a:lnTo>
                    <a:pt x="474" y="607"/>
                  </a:lnTo>
                  <a:lnTo>
                    <a:pt x="476" y="607"/>
                  </a:lnTo>
                  <a:lnTo>
                    <a:pt x="468" y="598"/>
                  </a:lnTo>
                  <a:lnTo>
                    <a:pt x="464" y="593"/>
                  </a:lnTo>
                  <a:lnTo>
                    <a:pt x="463" y="593"/>
                  </a:lnTo>
                  <a:lnTo>
                    <a:pt x="463" y="593"/>
                  </a:lnTo>
                  <a:lnTo>
                    <a:pt x="463" y="593"/>
                  </a:lnTo>
                  <a:lnTo>
                    <a:pt x="463" y="591"/>
                  </a:lnTo>
                  <a:lnTo>
                    <a:pt x="463" y="591"/>
                  </a:lnTo>
                  <a:lnTo>
                    <a:pt x="460" y="587"/>
                  </a:lnTo>
                  <a:lnTo>
                    <a:pt x="456" y="582"/>
                  </a:lnTo>
                  <a:lnTo>
                    <a:pt x="456" y="585"/>
                  </a:lnTo>
                  <a:lnTo>
                    <a:pt x="458" y="589"/>
                  </a:lnTo>
                  <a:lnTo>
                    <a:pt x="461" y="596"/>
                  </a:lnTo>
                  <a:lnTo>
                    <a:pt x="465" y="603"/>
                  </a:lnTo>
                  <a:lnTo>
                    <a:pt x="468" y="609"/>
                  </a:lnTo>
                  <a:lnTo>
                    <a:pt x="471" y="613"/>
                  </a:lnTo>
                  <a:lnTo>
                    <a:pt x="472" y="617"/>
                  </a:lnTo>
                  <a:lnTo>
                    <a:pt x="472" y="620"/>
                  </a:lnTo>
                  <a:lnTo>
                    <a:pt x="473" y="621"/>
                  </a:lnTo>
                  <a:lnTo>
                    <a:pt x="472" y="620"/>
                  </a:lnTo>
                  <a:lnTo>
                    <a:pt x="471" y="617"/>
                  </a:lnTo>
                  <a:lnTo>
                    <a:pt x="469" y="615"/>
                  </a:lnTo>
                  <a:lnTo>
                    <a:pt x="467" y="611"/>
                  </a:lnTo>
                  <a:lnTo>
                    <a:pt x="463" y="605"/>
                  </a:lnTo>
                  <a:lnTo>
                    <a:pt x="464" y="608"/>
                  </a:lnTo>
                  <a:lnTo>
                    <a:pt x="464" y="609"/>
                  </a:lnTo>
                  <a:lnTo>
                    <a:pt x="464" y="609"/>
                  </a:lnTo>
                  <a:lnTo>
                    <a:pt x="464" y="609"/>
                  </a:lnTo>
                  <a:lnTo>
                    <a:pt x="463" y="608"/>
                  </a:lnTo>
                  <a:lnTo>
                    <a:pt x="461" y="604"/>
                  </a:lnTo>
                  <a:lnTo>
                    <a:pt x="460" y="600"/>
                  </a:lnTo>
                  <a:lnTo>
                    <a:pt x="458" y="596"/>
                  </a:lnTo>
                  <a:lnTo>
                    <a:pt x="460" y="605"/>
                  </a:lnTo>
                  <a:lnTo>
                    <a:pt x="461" y="612"/>
                  </a:lnTo>
                  <a:lnTo>
                    <a:pt x="463" y="616"/>
                  </a:lnTo>
                  <a:lnTo>
                    <a:pt x="465" y="620"/>
                  </a:lnTo>
                  <a:lnTo>
                    <a:pt x="467" y="624"/>
                  </a:lnTo>
                  <a:lnTo>
                    <a:pt x="467" y="625"/>
                  </a:lnTo>
                  <a:lnTo>
                    <a:pt x="467" y="626"/>
                  </a:lnTo>
                  <a:lnTo>
                    <a:pt x="467" y="625"/>
                  </a:lnTo>
                  <a:lnTo>
                    <a:pt x="465" y="622"/>
                  </a:lnTo>
                  <a:lnTo>
                    <a:pt x="463" y="620"/>
                  </a:lnTo>
                  <a:lnTo>
                    <a:pt x="464" y="624"/>
                  </a:lnTo>
                  <a:lnTo>
                    <a:pt x="464" y="627"/>
                  </a:lnTo>
                  <a:lnTo>
                    <a:pt x="464" y="629"/>
                  </a:lnTo>
                  <a:lnTo>
                    <a:pt x="464" y="627"/>
                  </a:lnTo>
                  <a:lnTo>
                    <a:pt x="464" y="625"/>
                  </a:lnTo>
                  <a:lnTo>
                    <a:pt x="463" y="621"/>
                  </a:lnTo>
                  <a:lnTo>
                    <a:pt x="460" y="617"/>
                  </a:lnTo>
                  <a:lnTo>
                    <a:pt x="460" y="613"/>
                  </a:lnTo>
                  <a:lnTo>
                    <a:pt x="455" y="605"/>
                  </a:lnTo>
                  <a:lnTo>
                    <a:pt x="456" y="612"/>
                  </a:lnTo>
                  <a:lnTo>
                    <a:pt x="458" y="618"/>
                  </a:lnTo>
                  <a:lnTo>
                    <a:pt x="459" y="624"/>
                  </a:lnTo>
                  <a:lnTo>
                    <a:pt x="459" y="626"/>
                  </a:lnTo>
                  <a:lnTo>
                    <a:pt x="459" y="626"/>
                  </a:lnTo>
                  <a:lnTo>
                    <a:pt x="459" y="626"/>
                  </a:lnTo>
                  <a:lnTo>
                    <a:pt x="459" y="630"/>
                  </a:lnTo>
                  <a:lnTo>
                    <a:pt x="459" y="633"/>
                  </a:lnTo>
                  <a:lnTo>
                    <a:pt x="459" y="634"/>
                  </a:lnTo>
                  <a:lnTo>
                    <a:pt x="459" y="633"/>
                  </a:lnTo>
                  <a:lnTo>
                    <a:pt x="459" y="631"/>
                  </a:lnTo>
                  <a:lnTo>
                    <a:pt x="458" y="627"/>
                  </a:lnTo>
                  <a:lnTo>
                    <a:pt x="456" y="624"/>
                  </a:lnTo>
                  <a:lnTo>
                    <a:pt x="456" y="621"/>
                  </a:lnTo>
                  <a:lnTo>
                    <a:pt x="455" y="618"/>
                  </a:lnTo>
                  <a:lnTo>
                    <a:pt x="454" y="618"/>
                  </a:lnTo>
                  <a:lnTo>
                    <a:pt x="454" y="618"/>
                  </a:lnTo>
                  <a:lnTo>
                    <a:pt x="455" y="624"/>
                  </a:lnTo>
                  <a:lnTo>
                    <a:pt x="456" y="629"/>
                  </a:lnTo>
                  <a:lnTo>
                    <a:pt x="458" y="633"/>
                  </a:lnTo>
                  <a:lnTo>
                    <a:pt x="458" y="635"/>
                  </a:lnTo>
                  <a:lnTo>
                    <a:pt x="459" y="636"/>
                  </a:lnTo>
                  <a:lnTo>
                    <a:pt x="459" y="636"/>
                  </a:lnTo>
                  <a:lnTo>
                    <a:pt x="459" y="636"/>
                  </a:lnTo>
                  <a:lnTo>
                    <a:pt x="458" y="634"/>
                  </a:lnTo>
                  <a:lnTo>
                    <a:pt x="458" y="636"/>
                  </a:lnTo>
                  <a:lnTo>
                    <a:pt x="458" y="636"/>
                  </a:lnTo>
                  <a:lnTo>
                    <a:pt x="458" y="636"/>
                  </a:lnTo>
                  <a:lnTo>
                    <a:pt x="456" y="635"/>
                  </a:lnTo>
                  <a:lnTo>
                    <a:pt x="456" y="633"/>
                  </a:lnTo>
                  <a:lnTo>
                    <a:pt x="452" y="629"/>
                  </a:lnTo>
                  <a:lnTo>
                    <a:pt x="449" y="624"/>
                  </a:lnTo>
                  <a:lnTo>
                    <a:pt x="450" y="629"/>
                  </a:lnTo>
                  <a:lnTo>
                    <a:pt x="450" y="631"/>
                  </a:lnTo>
                  <a:lnTo>
                    <a:pt x="451" y="638"/>
                  </a:lnTo>
                  <a:lnTo>
                    <a:pt x="452" y="642"/>
                  </a:lnTo>
                  <a:lnTo>
                    <a:pt x="454" y="646"/>
                  </a:lnTo>
                  <a:lnTo>
                    <a:pt x="454" y="647"/>
                  </a:lnTo>
                  <a:lnTo>
                    <a:pt x="455" y="648"/>
                  </a:lnTo>
                  <a:lnTo>
                    <a:pt x="450" y="639"/>
                  </a:lnTo>
                  <a:lnTo>
                    <a:pt x="450" y="639"/>
                  </a:lnTo>
                  <a:lnTo>
                    <a:pt x="450" y="639"/>
                  </a:lnTo>
                  <a:lnTo>
                    <a:pt x="450" y="638"/>
                  </a:lnTo>
                  <a:lnTo>
                    <a:pt x="446" y="631"/>
                  </a:lnTo>
                  <a:lnTo>
                    <a:pt x="447" y="633"/>
                  </a:lnTo>
                  <a:lnTo>
                    <a:pt x="447" y="638"/>
                  </a:lnTo>
                  <a:lnTo>
                    <a:pt x="447" y="640"/>
                  </a:lnTo>
                  <a:lnTo>
                    <a:pt x="447" y="642"/>
                  </a:lnTo>
                  <a:lnTo>
                    <a:pt x="447" y="642"/>
                  </a:lnTo>
                  <a:lnTo>
                    <a:pt x="447" y="640"/>
                  </a:lnTo>
                  <a:lnTo>
                    <a:pt x="446" y="638"/>
                  </a:lnTo>
                  <a:lnTo>
                    <a:pt x="447" y="640"/>
                  </a:lnTo>
                  <a:lnTo>
                    <a:pt x="447" y="643"/>
                  </a:lnTo>
                  <a:lnTo>
                    <a:pt x="447" y="643"/>
                  </a:lnTo>
                  <a:lnTo>
                    <a:pt x="445" y="638"/>
                  </a:lnTo>
                  <a:lnTo>
                    <a:pt x="446" y="642"/>
                  </a:lnTo>
                  <a:lnTo>
                    <a:pt x="446" y="644"/>
                  </a:lnTo>
                  <a:lnTo>
                    <a:pt x="447" y="648"/>
                  </a:lnTo>
                  <a:lnTo>
                    <a:pt x="447" y="651"/>
                  </a:lnTo>
                  <a:lnTo>
                    <a:pt x="450" y="657"/>
                  </a:lnTo>
                  <a:lnTo>
                    <a:pt x="454" y="666"/>
                  </a:lnTo>
                  <a:lnTo>
                    <a:pt x="454" y="665"/>
                  </a:lnTo>
                  <a:lnTo>
                    <a:pt x="452" y="664"/>
                  </a:lnTo>
                  <a:lnTo>
                    <a:pt x="451" y="661"/>
                  </a:lnTo>
                  <a:lnTo>
                    <a:pt x="449" y="658"/>
                  </a:lnTo>
                  <a:lnTo>
                    <a:pt x="446" y="653"/>
                  </a:lnTo>
                  <a:lnTo>
                    <a:pt x="442" y="648"/>
                  </a:lnTo>
                  <a:lnTo>
                    <a:pt x="443" y="649"/>
                  </a:lnTo>
                  <a:lnTo>
                    <a:pt x="443" y="655"/>
                  </a:lnTo>
                  <a:lnTo>
                    <a:pt x="443" y="657"/>
                  </a:lnTo>
                  <a:lnTo>
                    <a:pt x="443" y="658"/>
                  </a:lnTo>
                  <a:lnTo>
                    <a:pt x="443" y="657"/>
                  </a:lnTo>
                  <a:lnTo>
                    <a:pt x="443" y="656"/>
                  </a:lnTo>
                  <a:lnTo>
                    <a:pt x="443" y="657"/>
                  </a:lnTo>
                  <a:lnTo>
                    <a:pt x="443" y="658"/>
                  </a:lnTo>
                  <a:lnTo>
                    <a:pt x="441" y="653"/>
                  </a:lnTo>
                  <a:lnTo>
                    <a:pt x="442" y="655"/>
                  </a:lnTo>
                  <a:lnTo>
                    <a:pt x="442" y="658"/>
                  </a:lnTo>
                  <a:lnTo>
                    <a:pt x="442" y="661"/>
                  </a:lnTo>
                  <a:lnTo>
                    <a:pt x="443" y="664"/>
                  </a:lnTo>
                  <a:lnTo>
                    <a:pt x="443" y="664"/>
                  </a:lnTo>
                  <a:lnTo>
                    <a:pt x="443" y="664"/>
                  </a:lnTo>
                  <a:lnTo>
                    <a:pt x="442" y="662"/>
                  </a:lnTo>
                  <a:lnTo>
                    <a:pt x="441" y="660"/>
                  </a:lnTo>
                  <a:lnTo>
                    <a:pt x="440" y="656"/>
                  </a:lnTo>
                  <a:lnTo>
                    <a:pt x="440" y="658"/>
                  </a:lnTo>
                  <a:lnTo>
                    <a:pt x="441" y="662"/>
                  </a:lnTo>
                  <a:lnTo>
                    <a:pt x="442" y="669"/>
                  </a:lnTo>
                  <a:lnTo>
                    <a:pt x="443" y="674"/>
                  </a:lnTo>
                  <a:lnTo>
                    <a:pt x="445" y="678"/>
                  </a:lnTo>
                  <a:lnTo>
                    <a:pt x="446" y="682"/>
                  </a:lnTo>
                  <a:lnTo>
                    <a:pt x="446" y="682"/>
                  </a:lnTo>
                  <a:lnTo>
                    <a:pt x="446" y="682"/>
                  </a:lnTo>
                  <a:lnTo>
                    <a:pt x="445" y="679"/>
                  </a:lnTo>
                  <a:lnTo>
                    <a:pt x="443" y="677"/>
                  </a:lnTo>
                  <a:lnTo>
                    <a:pt x="441" y="673"/>
                  </a:lnTo>
                  <a:lnTo>
                    <a:pt x="440" y="667"/>
                  </a:lnTo>
                  <a:lnTo>
                    <a:pt x="440" y="670"/>
                  </a:lnTo>
                  <a:lnTo>
                    <a:pt x="440" y="671"/>
                  </a:lnTo>
                  <a:lnTo>
                    <a:pt x="440" y="671"/>
                  </a:lnTo>
                  <a:lnTo>
                    <a:pt x="438" y="669"/>
                  </a:lnTo>
                  <a:lnTo>
                    <a:pt x="437" y="666"/>
                  </a:lnTo>
                  <a:lnTo>
                    <a:pt x="436" y="664"/>
                  </a:lnTo>
                  <a:lnTo>
                    <a:pt x="436" y="664"/>
                  </a:lnTo>
                  <a:lnTo>
                    <a:pt x="436" y="666"/>
                  </a:lnTo>
                  <a:lnTo>
                    <a:pt x="436" y="667"/>
                  </a:lnTo>
                  <a:lnTo>
                    <a:pt x="437" y="669"/>
                  </a:lnTo>
                  <a:lnTo>
                    <a:pt x="436" y="667"/>
                  </a:lnTo>
                  <a:lnTo>
                    <a:pt x="436" y="665"/>
                  </a:lnTo>
                  <a:lnTo>
                    <a:pt x="434" y="661"/>
                  </a:lnTo>
                  <a:lnTo>
                    <a:pt x="433" y="657"/>
                  </a:lnTo>
                  <a:lnTo>
                    <a:pt x="434" y="665"/>
                  </a:lnTo>
                  <a:lnTo>
                    <a:pt x="434" y="670"/>
                  </a:lnTo>
                  <a:lnTo>
                    <a:pt x="436" y="674"/>
                  </a:lnTo>
                  <a:lnTo>
                    <a:pt x="436" y="678"/>
                  </a:lnTo>
                  <a:lnTo>
                    <a:pt x="436" y="680"/>
                  </a:lnTo>
                  <a:lnTo>
                    <a:pt x="436" y="683"/>
                  </a:lnTo>
                  <a:lnTo>
                    <a:pt x="437" y="683"/>
                  </a:lnTo>
                  <a:lnTo>
                    <a:pt x="436" y="683"/>
                  </a:lnTo>
                  <a:lnTo>
                    <a:pt x="436" y="682"/>
                  </a:lnTo>
                  <a:lnTo>
                    <a:pt x="434" y="680"/>
                  </a:lnTo>
                  <a:lnTo>
                    <a:pt x="434" y="680"/>
                  </a:lnTo>
                  <a:lnTo>
                    <a:pt x="432" y="673"/>
                  </a:lnTo>
                  <a:lnTo>
                    <a:pt x="431" y="669"/>
                  </a:lnTo>
                  <a:lnTo>
                    <a:pt x="432" y="674"/>
                  </a:lnTo>
                  <a:lnTo>
                    <a:pt x="433" y="679"/>
                  </a:lnTo>
                  <a:lnTo>
                    <a:pt x="434" y="684"/>
                  </a:lnTo>
                  <a:lnTo>
                    <a:pt x="434" y="687"/>
                  </a:lnTo>
                  <a:lnTo>
                    <a:pt x="434" y="688"/>
                  </a:lnTo>
                  <a:lnTo>
                    <a:pt x="432" y="680"/>
                  </a:lnTo>
                  <a:lnTo>
                    <a:pt x="428" y="674"/>
                  </a:lnTo>
                  <a:lnTo>
                    <a:pt x="425" y="666"/>
                  </a:lnTo>
                  <a:lnTo>
                    <a:pt x="425" y="666"/>
                  </a:lnTo>
                  <a:lnTo>
                    <a:pt x="425" y="669"/>
                  </a:lnTo>
                  <a:lnTo>
                    <a:pt x="432" y="684"/>
                  </a:lnTo>
                  <a:lnTo>
                    <a:pt x="437" y="697"/>
                  </a:lnTo>
                  <a:lnTo>
                    <a:pt x="438" y="702"/>
                  </a:lnTo>
                  <a:lnTo>
                    <a:pt x="440" y="705"/>
                  </a:lnTo>
                  <a:lnTo>
                    <a:pt x="441" y="708"/>
                  </a:lnTo>
                  <a:lnTo>
                    <a:pt x="441" y="709"/>
                  </a:lnTo>
                  <a:lnTo>
                    <a:pt x="440" y="708"/>
                  </a:lnTo>
                  <a:lnTo>
                    <a:pt x="440" y="706"/>
                  </a:lnTo>
                  <a:lnTo>
                    <a:pt x="437" y="702"/>
                  </a:lnTo>
                  <a:lnTo>
                    <a:pt x="434" y="697"/>
                  </a:lnTo>
                  <a:lnTo>
                    <a:pt x="431" y="691"/>
                  </a:lnTo>
                  <a:lnTo>
                    <a:pt x="427" y="682"/>
                  </a:lnTo>
                  <a:lnTo>
                    <a:pt x="428" y="691"/>
                  </a:lnTo>
                  <a:lnTo>
                    <a:pt x="429" y="693"/>
                  </a:lnTo>
                  <a:lnTo>
                    <a:pt x="431" y="697"/>
                  </a:lnTo>
                  <a:lnTo>
                    <a:pt x="432" y="700"/>
                  </a:lnTo>
                  <a:lnTo>
                    <a:pt x="432" y="702"/>
                  </a:lnTo>
                  <a:lnTo>
                    <a:pt x="433" y="702"/>
                  </a:lnTo>
                  <a:lnTo>
                    <a:pt x="432" y="702"/>
                  </a:lnTo>
                  <a:lnTo>
                    <a:pt x="431" y="700"/>
                  </a:lnTo>
                  <a:lnTo>
                    <a:pt x="429" y="697"/>
                  </a:lnTo>
                  <a:lnTo>
                    <a:pt x="429" y="700"/>
                  </a:lnTo>
                  <a:lnTo>
                    <a:pt x="429" y="701"/>
                  </a:lnTo>
                  <a:lnTo>
                    <a:pt x="429" y="701"/>
                  </a:lnTo>
                  <a:lnTo>
                    <a:pt x="429" y="701"/>
                  </a:lnTo>
                  <a:lnTo>
                    <a:pt x="429" y="700"/>
                  </a:lnTo>
                  <a:lnTo>
                    <a:pt x="428" y="697"/>
                  </a:lnTo>
                  <a:lnTo>
                    <a:pt x="428" y="700"/>
                  </a:lnTo>
                  <a:lnTo>
                    <a:pt x="429" y="704"/>
                  </a:lnTo>
                  <a:lnTo>
                    <a:pt x="429" y="706"/>
                  </a:lnTo>
                  <a:lnTo>
                    <a:pt x="429" y="708"/>
                  </a:lnTo>
                  <a:lnTo>
                    <a:pt x="429" y="708"/>
                  </a:lnTo>
                  <a:lnTo>
                    <a:pt x="428" y="706"/>
                  </a:lnTo>
                  <a:lnTo>
                    <a:pt x="428" y="704"/>
                  </a:lnTo>
                  <a:lnTo>
                    <a:pt x="425" y="700"/>
                  </a:lnTo>
                  <a:lnTo>
                    <a:pt x="424" y="695"/>
                  </a:lnTo>
                  <a:lnTo>
                    <a:pt x="422" y="688"/>
                  </a:lnTo>
                  <a:lnTo>
                    <a:pt x="420" y="680"/>
                  </a:lnTo>
                  <a:lnTo>
                    <a:pt x="419" y="678"/>
                  </a:lnTo>
                  <a:lnTo>
                    <a:pt x="419" y="680"/>
                  </a:lnTo>
                  <a:lnTo>
                    <a:pt x="422" y="688"/>
                  </a:lnTo>
                  <a:lnTo>
                    <a:pt x="428" y="708"/>
                  </a:lnTo>
                  <a:lnTo>
                    <a:pt x="433" y="723"/>
                  </a:lnTo>
                  <a:lnTo>
                    <a:pt x="436" y="728"/>
                  </a:lnTo>
                  <a:lnTo>
                    <a:pt x="436" y="732"/>
                  </a:lnTo>
                  <a:lnTo>
                    <a:pt x="437" y="736"/>
                  </a:lnTo>
                  <a:lnTo>
                    <a:pt x="438" y="737"/>
                  </a:lnTo>
                  <a:lnTo>
                    <a:pt x="438" y="738"/>
                  </a:lnTo>
                  <a:lnTo>
                    <a:pt x="432" y="724"/>
                  </a:lnTo>
                  <a:lnTo>
                    <a:pt x="427" y="713"/>
                  </a:lnTo>
                  <a:lnTo>
                    <a:pt x="422" y="700"/>
                  </a:lnTo>
                  <a:lnTo>
                    <a:pt x="423" y="708"/>
                  </a:lnTo>
                  <a:lnTo>
                    <a:pt x="425" y="715"/>
                  </a:lnTo>
                  <a:lnTo>
                    <a:pt x="427" y="719"/>
                  </a:lnTo>
                  <a:lnTo>
                    <a:pt x="428" y="723"/>
                  </a:lnTo>
                  <a:lnTo>
                    <a:pt x="428" y="724"/>
                  </a:lnTo>
                  <a:lnTo>
                    <a:pt x="429" y="726"/>
                  </a:lnTo>
                  <a:lnTo>
                    <a:pt x="428" y="724"/>
                  </a:lnTo>
                  <a:lnTo>
                    <a:pt x="428" y="723"/>
                  </a:lnTo>
                  <a:lnTo>
                    <a:pt x="425" y="720"/>
                  </a:lnTo>
                  <a:lnTo>
                    <a:pt x="424" y="718"/>
                  </a:lnTo>
                  <a:lnTo>
                    <a:pt x="424" y="720"/>
                  </a:lnTo>
                  <a:lnTo>
                    <a:pt x="424" y="724"/>
                  </a:lnTo>
                  <a:lnTo>
                    <a:pt x="427" y="732"/>
                  </a:lnTo>
                  <a:lnTo>
                    <a:pt x="428" y="735"/>
                  </a:lnTo>
                  <a:lnTo>
                    <a:pt x="429" y="740"/>
                  </a:lnTo>
                  <a:lnTo>
                    <a:pt x="434" y="749"/>
                  </a:lnTo>
                  <a:lnTo>
                    <a:pt x="436" y="751"/>
                  </a:lnTo>
                  <a:lnTo>
                    <a:pt x="441" y="757"/>
                  </a:lnTo>
                  <a:lnTo>
                    <a:pt x="441" y="755"/>
                  </a:lnTo>
                  <a:lnTo>
                    <a:pt x="441" y="753"/>
                  </a:lnTo>
                  <a:lnTo>
                    <a:pt x="441" y="751"/>
                  </a:lnTo>
                  <a:lnTo>
                    <a:pt x="441" y="753"/>
                  </a:lnTo>
                  <a:lnTo>
                    <a:pt x="441" y="755"/>
                  </a:lnTo>
                  <a:lnTo>
                    <a:pt x="442" y="757"/>
                  </a:lnTo>
                  <a:lnTo>
                    <a:pt x="463" y="766"/>
                  </a:lnTo>
                  <a:lnTo>
                    <a:pt x="483" y="777"/>
                  </a:lnTo>
                  <a:lnTo>
                    <a:pt x="501" y="789"/>
                  </a:lnTo>
                  <a:lnTo>
                    <a:pt x="505" y="789"/>
                  </a:lnTo>
                  <a:lnTo>
                    <a:pt x="516" y="789"/>
                  </a:lnTo>
                  <a:lnTo>
                    <a:pt x="529" y="791"/>
                  </a:lnTo>
                  <a:lnTo>
                    <a:pt x="534" y="793"/>
                  </a:lnTo>
                  <a:lnTo>
                    <a:pt x="540" y="795"/>
                  </a:lnTo>
                  <a:lnTo>
                    <a:pt x="541" y="797"/>
                  </a:lnTo>
                  <a:lnTo>
                    <a:pt x="544" y="798"/>
                  </a:lnTo>
                  <a:lnTo>
                    <a:pt x="545" y="800"/>
                  </a:lnTo>
                  <a:lnTo>
                    <a:pt x="547" y="803"/>
                  </a:lnTo>
                  <a:lnTo>
                    <a:pt x="547" y="806"/>
                  </a:lnTo>
                  <a:lnTo>
                    <a:pt x="547" y="807"/>
                  </a:lnTo>
                  <a:lnTo>
                    <a:pt x="545" y="810"/>
                  </a:lnTo>
                  <a:lnTo>
                    <a:pt x="544" y="811"/>
                  </a:lnTo>
                  <a:lnTo>
                    <a:pt x="543" y="811"/>
                  </a:lnTo>
                  <a:lnTo>
                    <a:pt x="543" y="811"/>
                  </a:lnTo>
                  <a:lnTo>
                    <a:pt x="544" y="810"/>
                  </a:lnTo>
                  <a:lnTo>
                    <a:pt x="545" y="808"/>
                  </a:lnTo>
                  <a:lnTo>
                    <a:pt x="545" y="806"/>
                  </a:lnTo>
                  <a:lnTo>
                    <a:pt x="544" y="807"/>
                  </a:lnTo>
                  <a:lnTo>
                    <a:pt x="543" y="810"/>
                  </a:lnTo>
                  <a:lnTo>
                    <a:pt x="541" y="811"/>
                  </a:lnTo>
                  <a:lnTo>
                    <a:pt x="541" y="812"/>
                  </a:lnTo>
                  <a:lnTo>
                    <a:pt x="541" y="812"/>
                  </a:lnTo>
                  <a:lnTo>
                    <a:pt x="541" y="813"/>
                  </a:lnTo>
                  <a:lnTo>
                    <a:pt x="541" y="815"/>
                  </a:lnTo>
                  <a:lnTo>
                    <a:pt x="540" y="816"/>
                  </a:lnTo>
                  <a:lnTo>
                    <a:pt x="539" y="817"/>
                  </a:lnTo>
                  <a:lnTo>
                    <a:pt x="536" y="819"/>
                  </a:lnTo>
                  <a:lnTo>
                    <a:pt x="534" y="820"/>
                  </a:lnTo>
                  <a:lnTo>
                    <a:pt x="531" y="820"/>
                  </a:lnTo>
                  <a:lnTo>
                    <a:pt x="527" y="820"/>
                  </a:lnTo>
                  <a:lnTo>
                    <a:pt x="523" y="819"/>
                  </a:lnTo>
                  <a:lnTo>
                    <a:pt x="520" y="821"/>
                  </a:lnTo>
                  <a:lnTo>
                    <a:pt x="520" y="821"/>
                  </a:lnTo>
                  <a:lnTo>
                    <a:pt x="521" y="825"/>
                  </a:lnTo>
                  <a:lnTo>
                    <a:pt x="520" y="828"/>
                  </a:lnTo>
                  <a:lnTo>
                    <a:pt x="518" y="830"/>
                  </a:lnTo>
                  <a:lnTo>
                    <a:pt x="516" y="833"/>
                  </a:lnTo>
                  <a:lnTo>
                    <a:pt x="513" y="835"/>
                  </a:lnTo>
                  <a:lnTo>
                    <a:pt x="508" y="835"/>
                  </a:lnTo>
                  <a:lnTo>
                    <a:pt x="504" y="837"/>
                  </a:lnTo>
                  <a:lnTo>
                    <a:pt x="500" y="835"/>
                  </a:lnTo>
                  <a:lnTo>
                    <a:pt x="495" y="834"/>
                  </a:lnTo>
                  <a:lnTo>
                    <a:pt x="492" y="831"/>
                  </a:lnTo>
                  <a:lnTo>
                    <a:pt x="489" y="829"/>
                  </a:lnTo>
                  <a:lnTo>
                    <a:pt x="486" y="825"/>
                  </a:lnTo>
                  <a:lnTo>
                    <a:pt x="482" y="821"/>
                  </a:lnTo>
                  <a:lnTo>
                    <a:pt x="481" y="821"/>
                  </a:lnTo>
                  <a:lnTo>
                    <a:pt x="480" y="822"/>
                  </a:lnTo>
                  <a:lnTo>
                    <a:pt x="477" y="824"/>
                  </a:lnTo>
                  <a:lnTo>
                    <a:pt x="474" y="824"/>
                  </a:lnTo>
                  <a:lnTo>
                    <a:pt x="469" y="825"/>
                  </a:lnTo>
                  <a:lnTo>
                    <a:pt x="465" y="825"/>
                  </a:lnTo>
                  <a:lnTo>
                    <a:pt x="460" y="825"/>
                  </a:lnTo>
                  <a:lnTo>
                    <a:pt x="456" y="824"/>
                  </a:lnTo>
                  <a:lnTo>
                    <a:pt x="456" y="824"/>
                  </a:lnTo>
                  <a:lnTo>
                    <a:pt x="456" y="824"/>
                  </a:lnTo>
                  <a:lnTo>
                    <a:pt x="455" y="822"/>
                  </a:lnTo>
                  <a:lnTo>
                    <a:pt x="449" y="820"/>
                  </a:lnTo>
                  <a:lnTo>
                    <a:pt x="443" y="817"/>
                  </a:lnTo>
                  <a:lnTo>
                    <a:pt x="441" y="816"/>
                  </a:lnTo>
                  <a:lnTo>
                    <a:pt x="434" y="812"/>
                  </a:lnTo>
                  <a:lnTo>
                    <a:pt x="431" y="810"/>
                  </a:lnTo>
                  <a:lnTo>
                    <a:pt x="423" y="807"/>
                  </a:lnTo>
                  <a:lnTo>
                    <a:pt x="414" y="807"/>
                  </a:lnTo>
                  <a:lnTo>
                    <a:pt x="402" y="806"/>
                  </a:lnTo>
                  <a:lnTo>
                    <a:pt x="397" y="807"/>
                  </a:lnTo>
                  <a:lnTo>
                    <a:pt x="392" y="807"/>
                  </a:lnTo>
                  <a:lnTo>
                    <a:pt x="389" y="808"/>
                  </a:lnTo>
                  <a:lnTo>
                    <a:pt x="391" y="810"/>
                  </a:lnTo>
                  <a:lnTo>
                    <a:pt x="392" y="810"/>
                  </a:lnTo>
                  <a:lnTo>
                    <a:pt x="394" y="811"/>
                  </a:lnTo>
                  <a:lnTo>
                    <a:pt x="394" y="811"/>
                  </a:lnTo>
                  <a:lnTo>
                    <a:pt x="394" y="811"/>
                  </a:lnTo>
                  <a:lnTo>
                    <a:pt x="392" y="811"/>
                  </a:lnTo>
                  <a:lnTo>
                    <a:pt x="388" y="811"/>
                  </a:lnTo>
                  <a:lnTo>
                    <a:pt x="384" y="811"/>
                  </a:lnTo>
                  <a:lnTo>
                    <a:pt x="379" y="811"/>
                  </a:lnTo>
                  <a:lnTo>
                    <a:pt x="375" y="811"/>
                  </a:lnTo>
                  <a:lnTo>
                    <a:pt x="369" y="811"/>
                  </a:lnTo>
                  <a:lnTo>
                    <a:pt x="365" y="810"/>
                  </a:lnTo>
                  <a:lnTo>
                    <a:pt x="360" y="808"/>
                  </a:lnTo>
                  <a:lnTo>
                    <a:pt x="356" y="806"/>
                  </a:lnTo>
                  <a:lnTo>
                    <a:pt x="352" y="802"/>
                  </a:lnTo>
                  <a:lnTo>
                    <a:pt x="349" y="798"/>
                  </a:lnTo>
                  <a:lnTo>
                    <a:pt x="348" y="793"/>
                  </a:lnTo>
                  <a:lnTo>
                    <a:pt x="347" y="789"/>
                  </a:lnTo>
                  <a:lnTo>
                    <a:pt x="348" y="785"/>
                  </a:lnTo>
                  <a:lnTo>
                    <a:pt x="348" y="781"/>
                  </a:lnTo>
                  <a:lnTo>
                    <a:pt x="349" y="780"/>
                  </a:lnTo>
                  <a:lnTo>
                    <a:pt x="351" y="775"/>
                  </a:lnTo>
                  <a:lnTo>
                    <a:pt x="351" y="769"/>
                  </a:lnTo>
                  <a:lnTo>
                    <a:pt x="352" y="764"/>
                  </a:lnTo>
                  <a:lnTo>
                    <a:pt x="353" y="759"/>
                  </a:lnTo>
                  <a:lnTo>
                    <a:pt x="356" y="755"/>
                  </a:lnTo>
                  <a:lnTo>
                    <a:pt x="357" y="751"/>
                  </a:lnTo>
                  <a:lnTo>
                    <a:pt x="360" y="749"/>
                  </a:lnTo>
                  <a:lnTo>
                    <a:pt x="360" y="748"/>
                  </a:lnTo>
                  <a:lnTo>
                    <a:pt x="361" y="740"/>
                  </a:lnTo>
                  <a:lnTo>
                    <a:pt x="364" y="731"/>
                  </a:lnTo>
                  <a:lnTo>
                    <a:pt x="364" y="728"/>
                  </a:lnTo>
                  <a:lnTo>
                    <a:pt x="364" y="711"/>
                  </a:lnTo>
                  <a:lnTo>
                    <a:pt x="362" y="692"/>
                  </a:lnTo>
                  <a:lnTo>
                    <a:pt x="362" y="678"/>
                  </a:lnTo>
                  <a:lnTo>
                    <a:pt x="355" y="655"/>
                  </a:lnTo>
                  <a:lnTo>
                    <a:pt x="351" y="634"/>
                  </a:lnTo>
                  <a:lnTo>
                    <a:pt x="351" y="629"/>
                  </a:lnTo>
                  <a:lnTo>
                    <a:pt x="351" y="624"/>
                  </a:lnTo>
                  <a:lnTo>
                    <a:pt x="351" y="622"/>
                  </a:lnTo>
                  <a:lnTo>
                    <a:pt x="349" y="600"/>
                  </a:lnTo>
                  <a:lnTo>
                    <a:pt x="351" y="591"/>
                  </a:lnTo>
                  <a:lnTo>
                    <a:pt x="352" y="582"/>
                  </a:lnTo>
                  <a:lnTo>
                    <a:pt x="352" y="582"/>
                  </a:lnTo>
                  <a:lnTo>
                    <a:pt x="345" y="595"/>
                  </a:lnTo>
                  <a:lnTo>
                    <a:pt x="348" y="585"/>
                  </a:lnTo>
                  <a:lnTo>
                    <a:pt x="352" y="574"/>
                  </a:lnTo>
                  <a:lnTo>
                    <a:pt x="351" y="569"/>
                  </a:lnTo>
                  <a:lnTo>
                    <a:pt x="351" y="562"/>
                  </a:lnTo>
                  <a:lnTo>
                    <a:pt x="348" y="567"/>
                  </a:lnTo>
                  <a:lnTo>
                    <a:pt x="345" y="572"/>
                  </a:lnTo>
                  <a:lnTo>
                    <a:pt x="343" y="576"/>
                  </a:lnTo>
                  <a:lnTo>
                    <a:pt x="345" y="571"/>
                  </a:lnTo>
                  <a:lnTo>
                    <a:pt x="347" y="565"/>
                  </a:lnTo>
                  <a:lnTo>
                    <a:pt x="347" y="562"/>
                  </a:lnTo>
                  <a:lnTo>
                    <a:pt x="347" y="555"/>
                  </a:lnTo>
                  <a:lnTo>
                    <a:pt x="345" y="550"/>
                  </a:lnTo>
                  <a:lnTo>
                    <a:pt x="345" y="545"/>
                  </a:lnTo>
                  <a:lnTo>
                    <a:pt x="345" y="551"/>
                  </a:lnTo>
                  <a:lnTo>
                    <a:pt x="344" y="549"/>
                  </a:lnTo>
                  <a:lnTo>
                    <a:pt x="343" y="554"/>
                  </a:lnTo>
                  <a:lnTo>
                    <a:pt x="340" y="558"/>
                  </a:lnTo>
                  <a:lnTo>
                    <a:pt x="338" y="560"/>
                  </a:lnTo>
                  <a:lnTo>
                    <a:pt x="342" y="534"/>
                  </a:lnTo>
                  <a:lnTo>
                    <a:pt x="342" y="534"/>
                  </a:lnTo>
                  <a:lnTo>
                    <a:pt x="340" y="532"/>
                  </a:lnTo>
                  <a:lnTo>
                    <a:pt x="340" y="529"/>
                  </a:lnTo>
                  <a:lnTo>
                    <a:pt x="339" y="527"/>
                  </a:lnTo>
                  <a:lnTo>
                    <a:pt x="338" y="532"/>
                  </a:lnTo>
                  <a:lnTo>
                    <a:pt x="336" y="538"/>
                  </a:lnTo>
                  <a:lnTo>
                    <a:pt x="336" y="540"/>
                  </a:lnTo>
                  <a:lnTo>
                    <a:pt x="336" y="544"/>
                  </a:lnTo>
                  <a:lnTo>
                    <a:pt x="336" y="547"/>
                  </a:lnTo>
                  <a:lnTo>
                    <a:pt x="336" y="550"/>
                  </a:lnTo>
                  <a:lnTo>
                    <a:pt x="336" y="551"/>
                  </a:lnTo>
                  <a:lnTo>
                    <a:pt x="336" y="550"/>
                  </a:lnTo>
                  <a:lnTo>
                    <a:pt x="336" y="547"/>
                  </a:lnTo>
                  <a:lnTo>
                    <a:pt x="335" y="544"/>
                  </a:lnTo>
                  <a:lnTo>
                    <a:pt x="335" y="540"/>
                  </a:lnTo>
                  <a:lnTo>
                    <a:pt x="334" y="531"/>
                  </a:lnTo>
                  <a:lnTo>
                    <a:pt x="333" y="536"/>
                  </a:lnTo>
                  <a:lnTo>
                    <a:pt x="330" y="532"/>
                  </a:lnTo>
                  <a:lnTo>
                    <a:pt x="331" y="537"/>
                  </a:lnTo>
                  <a:lnTo>
                    <a:pt x="331" y="537"/>
                  </a:lnTo>
                  <a:lnTo>
                    <a:pt x="330" y="534"/>
                  </a:lnTo>
                  <a:lnTo>
                    <a:pt x="329" y="532"/>
                  </a:lnTo>
                  <a:lnTo>
                    <a:pt x="327" y="527"/>
                  </a:lnTo>
                  <a:lnTo>
                    <a:pt x="324" y="520"/>
                  </a:lnTo>
                  <a:lnTo>
                    <a:pt x="325" y="525"/>
                  </a:lnTo>
                  <a:lnTo>
                    <a:pt x="325" y="529"/>
                  </a:lnTo>
                  <a:lnTo>
                    <a:pt x="326" y="532"/>
                  </a:lnTo>
                  <a:lnTo>
                    <a:pt x="326" y="532"/>
                  </a:lnTo>
                  <a:lnTo>
                    <a:pt x="325" y="532"/>
                  </a:lnTo>
                  <a:lnTo>
                    <a:pt x="325" y="529"/>
                  </a:lnTo>
                  <a:lnTo>
                    <a:pt x="325" y="533"/>
                  </a:lnTo>
                  <a:lnTo>
                    <a:pt x="325" y="537"/>
                  </a:lnTo>
                  <a:lnTo>
                    <a:pt x="326" y="540"/>
                  </a:lnTo>
                  <a:lnTo>
                    <a:pt x="326" y="540"/>
                  </a:lnTo>
                  <a:lnTo>
                    <a:pt x="325" y="540"/>
                  </a:lnTo>
                  <a:lnTo>
                    <a:pt x="325" y="537"/>
                  </a:lnTo>
                  <a:lnTo>
                    <a:pt x="325" y="534"/>
                  </a:lnTo>
                  <a:lnTo>
                    <a:pt x="324" y="531"/>
                  </a:lnTo>
                  <a:lnTo>
                    <a:pt x="322" y="525"/>
                  </a:lnTo>
                  <a:lnTo>
                    <a:pt x="320" y="519"/>
                  </a:lnTo>
                  <a:lnTo>
                    <a:pt x="320" y="522"/>
                  </a:lnTo>
                  <a:lnTo>
                    <a:pt x="320" y="525"/>
                  </a:lnTo>
                  <a:lnTo>
                    <a:pt x="320" y="529"/>
                  </a:lnTo>
                  <a:lnTo>
                    <a:pt x="320" y="532"/>
                  </a:lnTo>
                  <a:lnTo>
                    <a:pt x="320" y="533"/>
                  </a:lnTo>
                  <a:lnTo>
                    <a:pt x="320" y="532"/>
                  </a:lnTo>
                  <a:lnTo>
                    <a:pt x="320" y="529"/>
                  </a:lnTo>
                  <a:lnTo>
                    <a:pt x="318" y="525"/>
                  </a:lnTo>
                  <a:lnTo>
                    <a:pt x="318" y="522"/>
                  </a:lnTo>
                  <a:lnTo>
                    <a:pt x="316" y="514"/>
                  </a:lnTo>
                  <a:lnTo>
                    <a:pt x="313" y="506"/>
                  </a:lnTo>
                  <a:lnTo>
                    <a:pt x="313" y="507"/>
                  </a:lnTo>
                  <a:lnTo>
                    <a:pt x="313" y="507"/>
                  </a:lnTo>
                  <a:lnTo>
                    <a:pt x="313" y="507"/>
                  </a:lnTo>
                  <a:lnTo>
                    <a:pt x="313" y="505"/>
                  </a:lnTo>
                  <a:lnTo>
                    <a:pt x="312" y="502"/>
                  </a:lnTo>
                  <a:lnTo>
                    <a:pt x="309" y="500"/>
                  </a:lnTo>
                  <a:lnTo>
                    <a:pt x="307" y="494"/>
                  </a:lnTo>
                  <a:lnTo>
                    <a:pt x="307" y="496"/>
                  </a:lnTo>
                  <a:lnTo>
                    <a:pt x="309" y="503"/>
                  </a:lnTo>
                  <a:lnTo>
                    <a:pt x="312" y="510"/>
                  </a:lnTo>
                  <a:lnTo>
                    <a:pt x="313" y="515"/>
                  </a:lnTo>
                  <a:lnTo>
                    <a:pt x="315" y="520"/>
                  </a:lnTo>
                  <a:lnTo>
                    <a:pt x="316" y="523"/>
                  </a:lnTo>
                  <a:lnTo>
                    <a:pt x="316" y="524"/>
                  </a:lnTo>
                  <a:lnTo>
                    <a:pt x="316" y="523"/>
                  </a:lnTo>
                  <a:lnTo>
                    <a:pt x="316" y="522"/>
                  </a:lnTo>
                  <a:lnTo>
                    <a:pt x="315" y="520"/>
                  </a:lnTo>
                  <a:lnTo>
                    <a:pt x="315" y="520"/>
                  </a:lnTo>
                  <a:lnTo>
                    <a:pt x="316" y="524"/>
                  </a:lnTo>
                  <a:lnTo>
                    <a:pt x="316" y="528"/>
                  </a:lnTo>
                  <a:lnTo>
                    <a:pt x="316" y="529"/>
                  </a:lnTo>
                  <a:lnTo>
                    <a:pt x="316" y="531"/>
                  </a:lnTo>
                  <a:lnTo>
                    <a:pt x="316" y="529"/>
                  </a:lnTo>
                  <a:lnTo>
                    <a:pt x="315" y="528"/>
                  </a:lnTo>
                  <a:lnTo>
                    <a:pt x="313" y="524"/>
                  </a:lnTo>
                  <a:lnTo>
                    <a:pt x="315" y="525"/>
                  </a:lnTo>
                  <a:lnTo>
                    <a:pt x="316" y="531"/>
                  </a:lnTo>
                  <a:lnTo>
                    <a:pt x="316" y="536"/>
                  </a:lnTo>
                  <a:lnTo>
                    <a:pt x="316" y="538"/>
                  </a:lnTo>
                  <a:lnTo>
                    <a:pt x="316" y="538"/>
                  </a:lnTo>
                  <a:lnTo>
                    <a:pt x="316" y="538"/>
                  </a:lnTo>
                  <a:lnTo>
                    <a:pt x="316" y="536"/>
                  </a:lnTo>
                  <a:lnTo>
                    <a:pt x="315" y="533"/>
                  </a:lnTo>
                  <a:lnTo>
                    <a:pt x="313" y="529"/>
                  </a:lnTo>
                  <a:lnTo>
                    <a:pt x="315" y="533"/>
                  </a:lnTo>
                  <a:lnTo>
                    <a:pt x="315" y="537"/>
                  </a:lnTo>
                  <a:lnTo>
                    <a:pt x="315" y="537"/>
                  </a:lnTo>
                  <a:lnTo>
                    <a:pt x="315" y="537"/>
                  </a:lnTo>
                  <a:lnTo>
                    <a:pt x="313" y="534"/>
                  </a:lnTo>
                  <a:lnTo>
                    <a:pt x="312" y="531"/>
                  </a:lnTo>
                  <a:lnTo>
                    <a:pt x="311" y="525"/>
                  </a:lnTo>
                  <a:lnTo>
                    <a:pt x="308" y="522"/>
                  </a:lnTo>
                  <a:lnTo>
                    <a:pt x="306" y="515"/>
                  </a:lnTo>
                  <a:lnTo>
                    <a:pt x="306" y="516"/>
                  </a:lnTo>
                  <a:lnTo>
                    <a:pt x="307" y="520"/>
                  </a:lnTo>
                  <a:lnTo>
                    <a:pt x="308" y="523"/>
                  </a:lnTo>
                  <a:lnTo>
                    <a:pt x="309" y="525"/>
                  </a:lnTo>
                  <a:lnTo>
                    <a:pt x="309" y="525"/>
                  </a:lnTo>
                  <a:lnTo>
                    <a:pt x="309" y="525"/>
                  </a:lnTo>
                  <a:lnTo>
                    <a:pt x="308" y="524"/>
                  </a:lnTo>
                  <a:lnTo>
                    <a:pt x="309" y="527"/>
                  </a:lnTo>
                  <a:lnTo>
                    <a:pt x="312" y="534"/>
                  </a:lnTo>
                  <a:lnTo>
                    <a:pt x="315" y="541"/>
                  </a:lnTo>
                  <a:lnTo>
                    <a:pt x="316" y="546"/>
                  </a:lnTo>
                  <a:lnTo>
                    <a:pt x="316" y="549"/>
                  </a:lnTo>
                  <a:lnTo>
                    <a:pt x="317" y="551"/>
                  </a:lnTo>
                  <a:lnTo>
                    <a:pt x="317" y="551"/>
                  </a:lnTo>
                  <a:lnTo>
                    <a:pt x="317" y="551"/>
                  </a:lnTo>
                  <a:lnTo>
                    <a:pt x="316" y="549"/>
                  </a:lnTo>
                  <a:lnTo>
                    <a:pt x="315" y="546"/>
                  </a:lnTo>
                  <a:lnTo>
                    <a:pt x="315" y="547"/>
                  </a:lnTo>
                  <a:lnTo>
                    <a:pt x="315" y="551"/>
                  </a:lnTo>
                  <a:lnTo>
                    <a:pt x="315" y="553"/>
                  </a:lnTo>
                  <a:lnTo>
                    <a:pt x="315" y="554"/>
                  </a:lnTo>
                  <a:lnTo>
                    <a:pt x="315" y="553"/>
                  </a:lnTo>
                  <a:lnTo>
                    <a:pt x="315" y="551"/>
                  </a:lnTo>
                  <a:lnTo>
                    <a:pt x="313" y="547"/>
                  </a:lnTo>
                  <a:lnTo>
                    <a:pt x="312" y="542"/>
                  </a:lnTo>
                  <a:lnTo>
                    <a:pt x="312" y="542"/>
                  </a:lnTo>
                  <a:lnTo>
                    <a:pt x="311" y="538"/>
                  </a:lnTo>
                  <a:lnTo>
                    <a:pt x="308" y="534"/>
                  </a:lnTo>
                  <a:lnTo>
                    <a:pt x="309" y="538"/>
                  </a:lnTo>
                  <a:lnTo>
                    <a:pt x="311" y="541"/>
                  </a:lnTo>
                  <a:lnTo>
                    <a:pt x="311" y="542"/>
                  </a:lnTo>
                  <a:lnTo>
                    <a:pt x="311" y="541"/>
                  </a:lnTo>
                  <a:lnTo>
                    <a:pt x="309" y="541"/>
                  </a:lnTo>
                  <a:lnTo>
                    <a:pt x="309" y="538"/>
                  </a:lnTo>
                  <a:lnTo>
                    <a:pt x="311" y="547"/>
                  </a:lnTo>
                  <a:lnTo>
                    <a:pt x="313" y="555"/>
                  </a:lnTo>
                  <a:lnTo>
                    <a:pt x="313" y="560"/>
                  </a:lnTo>
                  <a:lnTo>
                    <a:pt x="315" y="565"/>
                  </a:lnTo>
                  <a:lnTo>
                    <a:pt x="315" y="569"/>
                  </a:lnTo>
                  <a:lnTo>
                    <a:pt x="315" y="572"/>
                  </a:lnTo>
                  <a:lnTo>
                    <a:pt x="315" y="572"/>
                  </a:lnTo>
                  <a:lnTo>
                    <a:pt x="315" y="572"/>
                  </a:lnTo>
                  <a:lnTo>
                    <a:pt x="315" y="569"/>
                  </a:lnTo>
                  <a:lnTo>
                    <a:pt x="313" y="565"/>
                  </a:lnTo>
                  <a:lnTo>
                    <a:pt x="312" y="562"/>
                  </a:lnTo>
                  <a:lnTo>
                    <a:pt x="311" y="555"/>
                  </a:lnTo>
                  <a:lnTo>
                    <a:pt x="311" y="554"/>
                  </a:lnTo>
                  <a:lnTo>
                    <a:pt x="311" y="558"/>
                  </a:lnTo>
                  <a:lnTo>
                    <a:pt x="311" y="562"/>
                  </a:lnTo>
                  <a:lnTo>
                    <a:pt x="311" y="564"/>
                  </a:lnTo>
                  <a:lnTo>
                    <a:pt x="311" y="564"/>
                  </a:lnTo>
                  <a:lnTo>
                    <a:pt x="311" y="564"/>
                  </a:lnTo>
                  <a:lnTo>
                    <a:pt x="311" y="562"/>
                  </a:lnTo>
                  <a:lnTo>
                    <a:pt x="309" y="558"/>
                  </a:lnTo>
                  <a:lnTo>
                    <a:pt x="308" y="553"/>
                  </a:lnTo>
                  <a:lnTo>
                    <a:pt x="306" y="546"/>
                  </a:lnTo>
                  <a:lnTo>
                    <a:pt x="303" y="537"/>
                  </a:lnTo>
                  <a:lnTo>
                    <a:pt x="303" y="537"/>
                  </a:lnTo>
                  <a:lnTo>
                    <a:pt x="303" y="541"/>
                  </a:lnTo>
                  <a:lnTo>
                    <a:pt x="303" y="541"/>
                  </a:lnTo>
                  <a:lnTo>
                    <a:pt x="304" y="547"/>
                  </a:lnTo>
                  <a:lnTo>
                    <a:pt x="304" y="549"/>
                  </a:lnTo>
                  <a:lnTo>
                    <a:pt x="304" y="550"/>
                  </a:lnTo>
                  <a:lnTo>
                    <a:pt x="304" y="549"/>
                  </a:lnTo>
                  <a:lnTo>
                    <a:pt x="306" y="558"/>
                  </a:lnTo>
                  <a:lnTo>
                    <a:pt x="307" y="567"/>
                  </a:lnTo>
                  <a:lnTo>
                    <a:pt x="307" y="572"/>
                  </a:lnTo>
                  <a:lnTo>
                    <a:pt x="308" y="574"/>
                  </a:lnTo>
                  <a:lnTo>
                    <a:pt x="308" y="577"/>
                  </a:lnTo>
                  <a:lnTo>
                    <a:pt x="308" y="578"/>
                  </a:lnTo>
                  <a:lnTo>
                    <a:pt x="308" y="577"/>
                  </a:lnTo>
                  <a:lnTo>
                    <a:pt x="307" y="576"/>
                  </a:lnTo>
                  <a:lnTo>
                    <a:pt x="306" y="572"/>
                  </a:lnTo>
                  <a:lnTo>
                    <a:pt x="306" y="567"/>
                  </a:lnTo>
                  <a:lnTo>
                    <a:pt x="304" y="563"/>
                  </a:lnTo>
                  <a:lnTo>
                    <a:pt x="303" y="558"/>
                  </a:lnTo>
                  <a:lnTo>
                    <a:pt x="303" y="563"/>
                  </a:lnTo>
                  <a:lnTo>
                    <a:pt x="303" y="567"/>
                  </a:lnTo>
                  <a:lnTo>
                    <a:pt x="303" y="568"/>
                  </a:lnTo>
                  <a:lnTo>
                    <a:pt x="303" y="568"/>
                  </a:lnTo>
                  <a:lnTo>
                    <a:pt x="303" y="571"/>
                  </a:lnTo>
                  <a:lnTo>
                    <a:pt x="303" y="573"/>
                  </a:lnTo>
                  <a:lnTo>
                    <a:pt x="303" y="577"/>
                  </a:lnTo>
                  <a:lnTo>
                    <a:pt x="302" y="578"/>
                  </a:lnTo>
                  <a:lnTo>
                    <a:pt x="302" y="578"/>
                  </a:lnTo>
                  <a:lnTo>
                    <a:pt x="302" y="578"/>
                  </a:lnTo>
                  <a:lnTo>
                    <a:pt x="302" y="574"/>
                  </a:lnTo>
                  <a:lnTo>
                    <a:pt x="302" y="571"/>
                  </a:lnTo>
                  <a:lnTo>
                    <a:pt x="300" y="565"/>
                  </a:lnTo>
                  <a:lnTo>
                    <a:pt x="300" y="573"/>
                  </a:lnTo>
                  <a:lnTo>
                    <a:pt x="302" y="578"/>
                  </a:lnTo>
                  <a:lnTo>
                    <a:pt x="300" y="581"/>
                  </a:lnTo>
                  <a:lnTo>
                    <a:pt x="300" y="581"/>
                  </a:lnTo>
                  <a:lnTo>
                    <a:pt x="302" y="582"/>
                  </a:lnTo>
                  <a:lnTo>
                    <a:pt x="302" y="584"/>
                  </a:lnTo>
                  <a:lnTo>
                    <a:pt x="300" y="582"/>
                  </a:lnTo>
                  <a:lnTo>
                    <a:pt x="300" y="585"/>
                  </a:lnTo>
                  <a:lnTo>
                    <a:pt x="300" y="586"/>
                  </a:lnTo>
                  <a:lnTo>
                    <a:pt x="299" y="578"/>
                  </a:lnTo>
                  <a:lnTo>
                    <a:pt x="299" y="578"/>
                  </a:lnTo>
                  <a:lnTo>
                    <a:pt x="299" y="578"/>
                  </a:lnTo>
                  <a:lnTo>
                    <a:pt x="299" y="582"/>
                  </a:lnTo>
                  <a:lnTo>
                    <a:pt x="299" y="586"/>
                  </a:lnTo>
                  <a:lnTo>
                    <a:pt x="299" y="590"/>
                  </a:lnTo>
                  <a:lnTo>
                    <a:pt x="298" y="593"/>
                  </a:lnTo>
                  <a:lnTo>
                    <a:pt x="298" y="594"/>
                  </a:lnTo>
                  <a:lnTo>
                    <a:pt x="298" y="595"/>
                  </a:lnTo>
                  <a:lnTo>
                    <a:pt x="298" y="594"/>
                  </a:lnTo>
                  <a:lnTo>
                    <a:pt x="298" y="593"/>
                  </a:lnTo>
                  <a:lnTo>
                    <a:pt x="298" y="590"/>
                  </a:lnTo>
                  <a:lnTo>
                    <a:pt x="296" y="586"/>
                  </a:lnTo>
                  <a:lnTo>
                    <a:pt x="296" y="582"/>
                  </a:lnTo>
                  <a:lnTo>
                    <a:pt x="295" y="577"/>
                  </a:lnTo>
                  <a:lnTo>
                    <a:pt x="295" y="580"/>
                  </a:lnTo>
                  <a:lnTo>
                    <a:pt x="295" y="585"/>
                  </a:lnTo>
                  <a:lnTo>
                    <a:pt x="295" y="590"/>
                  </a:lnTo>
                  <a:lnTo>
                    <a:pt x="296" y="593"/>
                  </a:lnTo>
                  <a:lnTo>
                    <a:pt x="296" y="595"/>
                  </a:lnTo>
                  <a:lnTo>
                    <a:pt x="298" y="596"/>
                  </a:lnTo>
                  <a:lnTo>
                    <a:pt x="296" y="596"/>
                  </a:lnTo>
                  <a:lnTo>
                    <a:pt x="296" y="595"/>
                  </a:lnTo>
                  <a:lnTo>
                    <a:pt x="296" y="596"/>
                  </a:lnTo>
                  <a:lnTo>
                    <a:pt x="296" y="600"/>
                  </a:lnTo>
                  <a:lnTo>
                    <a:pt x="296" y="603"/>
                  </a:lnTo>
                  <a:lnTo>
                    <a:pt x="296" y="604"/>
                  </a:lnTo>
                  <a:lnTo>
                    <a:pt x="296" y="603"/>
                  </a:lnTo>
                  <a:lnTo>
                    <a:pt x="295" y="600"/>
                  </a:lnTo>
                  <a:lnTo>
                    <a:pt x="294" y="596"/>
                  </a:lnTo>
                  <a:lnTo>
                    <a:pt x="293" y="594"/>
                  </a:lnTo>
                  <a:lnTo>
                    <a:pt x="293" y="589"/>
                  </a:lnTo>
                  <a:lnTo>
                    <a:pt x="291" y="587"/>
                  </a:lnTo>
                  <a:lnTo>
                    <a:pt x="293" y="595"/>
                  </a:lnTo>
                  <a:lnTo>
                    <a:pt x="293" y="602"/>
                  </a:lnTo>
                  <a:lnTo>
                    <a:pt x="293" y="605"/>
                  </a:lnTo>
                  <a:lnTo>
                    <a:pt x="294" y="609"/>
                  </a:lnTo>
                  <a:lnTo>
                    <a:pt x="294" y="609"/>
                  </a:lnTo>
                  <a:lnTo>
                    <a:pt x="294" y="609"/>
                  </a:lnTo>
                  <a:lnTo>
                    <a:pt x="293" y="608"/>
                  </a:lnTo>
                  <a:lnTo>
                    <a:pt x="293" y="607"/>
                  </a:lnTo>
                  <a:lnTo>
                    <a:pt x="291" y="611"/>
                  </a:lnTo>
                  <a:lnTo>
                    <a:pt x="290" y="616"/>
                  </a:lnTo>
                  <a:lnTo>
                    <a:pt x="289" y="618"/>
                  </a:lnTo>
                  <a:lnTo>
                    <a:pt x="289" y="620"/>
                  </a:lnTo>
                  <a:lnTo>
                    <a:pt x="289" y="621"/>
                  </a:lnTo>
                  <a:lnTo>
                    <a:pt x="289" y="620"/>
                  </a:lnTo>
                  <a:lnTo>
                    <a:pt x="289" y="617"/>
                  </a:lnTo>
                  <a:lnTo>
                    <a:pt x="289" y="613"/>
                  </a:lnTo>
                  <a:lnTo>
                    <a:pt x="289" y="608"/>
                  </a:lnTo>
                  <a:lnTo>
                    <a:pt x="289" y="602"/>
                  </a:lnTo>
                  <a:lnTo>
                    <a:pt x="289" y="595"/>
                  </a:lnTo>
                  <a:lnTo>
                    <a:pt x="287" y="595"/>
                  </a:lnTo>
                  <a:lnTo>
                    <a:pt x="286" y="590"/>
                  </a:lnTo>
                  <a:lnTo>
                    <a:pt x="286" y="593"/>
                  </a:lnTo>
                  <a:lnTo>
                    <a:pt x="286" y="605"/>
                  </a:lnTo>
                  <a:lnTo>
                    <a:pt x="285" y="616"/>
                  </a:lnTo>
                  <a:lnTo>
                    <a:pt x="285" y="618"/>
                  </a:lnTo>
                  <a:lnTo>
                    <a:pt x="285" y="618"/>
                  </a:lnTo>
                  <a:lnTo>
                    <a:pt x="284" y="617"/>
                  </a:lnTo>
                  <a:lnTo>
                    <a:pt x="284" y="620"/>
                  </a:lnTo>
                  <a:lnTo>
                    <a:pt x="284" y="625"/>
                  </a:lnTo>
                  <a:lnTo>
                    <a:pt x="284" y="627"/>
                  </a:lnTo>
                  <a:lnTo>
                    <a:pt x="282" y="629"/>
                  </a:lnTo>
                  <a:lnTo>
                    <a:pt x="282" y="620"/>
                  </a:lnTo>
                  <a:lnTo>
                    <a:pt x="281" y="617"/>
                  </a:lnTo>
                  <a:lnTo>
                    <a:pt x="281" y="617"/>
                  </a:lnTo>
                  <a:lnTo>
                    <a:pt x="281" y="621"/>
                  </a:lnTo>
                  <a:lnTo>
                    <a:pt x="280" y="624"/>
                  </a:lnTo>
                  <a:lnTo>
                    <a:pt x="280" y="625"/>
                  </a:lnTo>
                  <a:lnTo>
                    <a:pt x="278" y="625"/>
                  </a:lnTo>
                  <a:lnTo>
                    <a:pt x="278" y="624"/>
                  </a:lnTo>
                  <a:lnTo>
                    <a:pt x="280" y="621"/>
                  </a:lnTo>
                  <a:lnTo>
                    <a:pt x="278" y="617"/>
                  </a:lnTo>
                  <a:lnTo>
                    <a:pt x="278" y="612"/>
                  </a:lnTo>
                  <a:lnTo>
                    <a:pt x="278" y="605"/>
                  </a:lnTo>
                  <a:lnTo>
                    <a:pt x="278" y="598"/>
                  </a:lnTo>
                  <a:lnTo>
                    <a:pt x="278" y="593"/>
                  </a:lnTo>
                  <a:lnTo>
                    <a:pt x="277" y="591"/>
                  </a:lnTo>
                  <a:lnTo>
                    <a:pt x="278" y="599"/>
                  </a:lnTo>
                  <a:lnTo>
                    <a:pt x="278" y="607"/>
                  </a:lnTo>
                  <a:lnTo>
                    <a:pt x="278" y="615"/>
                  </a:lnTo>
                  <a:lnTo>
                    <a:pt x="277" y="622"/>
                  </a:lnTo>
                  <a:lnTo>
                    <a:pt x="277" y="625"/>
                  </a:lnTo>
                  <a:lnTo>
                    <a:pt x="277" y="626"/>
                  </a:lnTo>
                  <a:lnTo>
                    <a:pt x="277" y="625"/>
                  </a:lnTo>
                  <a:lnTo>
                    <a:pt x="277" y="629"/>
                  </a:lnTo>
                  <a:lnTo>
                    <a:pt x="276" y="633"/>
                  </a:lnTo>
                  <a:lnTo>
                    <a:pt x="276" y="634"/>
                  </a:lnTo>
                  <a:lnTo>
                    <a:pt x="276" y="635"/>
                  </a:lnTo>
                  <a:lnTo>
                    <a:pt x="276" y="634"/>
                  </a:lnTo>
                  <a:lnTo>
                    <a:pt x="276" y="631"/>
                  </a:lnTo>
                  <a:lnTo>
                    <a:pt x="275" y="627"/>
                  </a:lnTo>
                  <a:lnTo>
                    <a:pt x="275" y="622"/>
                  </a:lnTo>
                  <a:lnTo>
                    <a:pt x="275" y="616"/>
                  </a:lnTo>
                  <a:lnTo>
                    <a:pt x="272" y="608"/>
                  </a:lnTo>
                  <a:lnTo>
                    <a:pt x="273" y="621"/>
                  </a:lnTo>
                  <a:lnTo>
                    <a:pt x="273" y="631"/>
                  </a:lnTo>
                  <a:lnTo>
                    <a:pt x="272" y="635"/>
                  </a:lnTo>
                  <a:lnTo>
                    <a:pt x="272" y="639"/>
                  </a:lnTo>
                  <a:lnTo>
                    <a:pt x="271" y="642"/>
                  </a:lnTo>
                  <a:lnTo>
                    <a:pt x="271" y="642"/>
                  </a:lnTo>
                  <a:lnTo>
                    <a:pt x="271" y="642"/>
                  </a:lnTo>
                  <a:lnTo>
                    <a:pt x="271" y="639"/>
                  </a:lnTo>
                  <a:lnTo>
                    <a:pt x="271" y="635"/>
                  </a:lnTo>
                  <a:lnTo>
                    <a:pt x="271" y="631"/>
                  </a:lnTo>
                  <a:lnTo>
                    <a:pt x="269" y="624"/>
                  </a:lnTo>
                  <a:lnTo>
                    <a:pt x="269" y="616"/>
                  </a:lnTo>
                  <a:lnTo>
                    <a:pt x="268" y="611"/>
                  </a:lnTo>
                  <a:lnTo>
                    <a:pt x="267" y="604"/>
                  </a:lnTo>
                  <a:lnTo>
                    <a:pt x="267" y="602"/>
                  </a:lnTo>
                  <a:lnTo>
                    <a:pt x="267" y="609"/>
                  </a:lnTo>
                  <a:lnTo>
                    <a:pt x="267" y="621"/>
                  </a:lnTo>
                  <a:lnTo>
                    <a:pt x="267" y="630"/>
                  </a:lnTo>
                  <a:lnTo>
                    <a:pt x="267" y="635"/>
                  </a:lnTo>
                  <a:lnTo>
                    <a:pt x="267" y="638"/>
                  </a:lnTo>
                  <a:lnTo>
                    <a:pt x="267" y="639"/>
                  </a:lnTo>
                  <a:lnTo>
                    <a:pt x="267" y="639"/>
                  </a:lnTo>
                  <a:lnTo>
                    <a:pt x="266" y="636"/>
                  </a:lnTo>
                  <a:lnTo>
                    <a:pt x="266" y="634"/>
                  </a:lnTo>
                  <a:lnTo>
                    <a:pt x="264" y="631"/>
                  </a:lnTo>
                  <a:lnTo>
                    <a:pt x="264" y="630"/>
                  </a:lnTo>
                  <a:lnTo>
                    <a:pt x="264" y="636"/>
                  </a:lnTo>
                  <a:lnTo>
                    <a:pt x="263" y="640"/>
                  </a:lnTo>
                  <a:lnTo>
                    <a:pt x="262" y="643"/>
                  </a:lnTo>
                  <a:lnTo>
                    <a:pt x="260" y="644"/>
                  </a:lnTo>
                  <a:lnTo>
                    <a:pt x="259" y="644"/>
                  </a:lnTo>
                  <a:lnTo>
                    <a:pt x="259" y="644"/>
                  </a:lnTo>
                  <a:lnTo>
                    <a:pt x="260" y="643"/>
                  </a:lnTo>
                  <a:lnTo>
                    <a:pt x="262" y="643"/>
                  </a:lnTo>
                  <a:lnTo>
                    <a:pt x="262" y="640"/>
                  </a:lnTo>
                  <a:lnTo>
                    <a:pt x="262" y="636"/>
                  </a:lnTo>
                  <a:lnTo>
                    <a:pt x="262" y="631"/>
                  </a:lnTo>
                  <a:lnTo>
                    <a:pt x="260" y="626"/>
                  </a:lnTo>
                  <a:lnTo>
                    <a:pt x="260" y="626"/>
                  </a:lnTo>
                  <a:lnTo>
                    <a:pt x="260" y="625"/>
                  </a:lnTo>
                  <a:lnTo>
                    <a:pt x="260" y="630"/>
                  </a:lnTo>
                  <a:lnTo>
                    <a:pt x="259" y="635"/>
                  </a:lnTo>
                  <a:lnTo>
                    <a:pt x="259" y="639"/>
                  </a:lnTo>
                  <a:lnTo>
                    <a:pt x="259" y="640"/>
                  </a:lnTo>
                  <a:lnTo>
                    <a:pt x="259" y="642"/>
                  </a:lnTo>
                  <a:lnTo>
                    <a:pt x="259" y="642"/>
                  </a:lnTo>
                  <a:lnTo>
                    <a:pt x="258" y="639"/>
                  </a:lnTo>
                  <a:lnTo>
                    <a:pt x="258" y="636"/>
                  </a:lnTo>
                  <a:lnTo>
                    <a:pt x="257" y="634"/>
                  </a:lnTo>
                  <a:lnTo>
                    <a:pt x="257" y="631"/>
                  </a:lnTo>
                  <a:lnTo>
                    <a:pt x="255" y="630"/>
                  </a:lnTo>
                  <a:lnTo>
                    <a:pt x="255" y="636"/>
                  </a:lnTo>
                  <a:lnTo>
                    <a:pt x="254" y="643"/>
                  </a:lnTo>
                  <a:lnTo>
                    <a:pt x="253" y="647"/>
                  </a:lnTo>
                  <a:lnTo>
                    <a:pt x="251" y="649"/>
                  </a:lnTo>
                  <a:lnTo>
                    <a:pt x="251" y="651"/>
                  </a:lnTo>
                  <a:lnTo>
                    <a:pt x="251" y="652"/>
                  </a:lnTo>
                  <a:lnTo>
                    <a:pt x="251" y="651"/>
                  </a:lnTo>
                  <a:lnTo>
                    <a:pt x="251" y="649"/>
                  </a:lnTo>
                  <a:lnTo>
                    <a:pt x="251" y="646"/>
                  </a:lnTo>
                  <a:lnTo>
                    <a:pt x="251" y="642"/>
                  </a:lnTo>
                  <a:lnTo>
                    <a:pt x="253" y="634"/>
                  </a:lnTo>
                  <a:lnTo>
                    <a:pt x="253" y="625"/>
                  </a:lnTo>
                  <a:lnTo>
                    <a:pt x="250" y="638"/>
                  </a:lnTo>
                  <a:lnTo>
                    <a:pt x="249" y="647"/>
                  </a:lnTo>
                  <a:lnTo>
                    <a:pt x="249" y="649"/>
                  </a:lnTo>
                  <a:lnTo>
                    <a:pt x="249" y="649"/>
                  </a:lnTo>
                  <a:lnTo>
                    <a:pt x="249" y="648"/>
                  </a:lnTo>
                  <a:lnTo>
                    <a:pt x="249" y="644"/>
                  </a:lnTo>
                  <a:lnTo>
                    <a:pt x="248" y="649"/>
                  </a:lnTo>
                  <a:lnTo>
                    <a:pt x="246" y="652"/>
                  </a:lnTo>
                  <a:lnTo>
                    <a:pt x="245" y="655"/>
                  </a:lnTo>
                  <a:lnTo>
                    <a:pt x="245" y="656"/>
                  </a:lnTo>
                  <a:lnTo>
                    <a:pt x="244" y="656"/>
                  </a:lnTo>
                  <a:lnTo>
                    <a:pt x="245" y="656"/>
                  </a:lnTo>
                  <a:lnTo>
                    <a:pt x="245" y="655"/>
                  </a:lnTo>
                  <a:lnTo>
                    <a:pt x="245" y="652"/>
                  </a:lnTo>
                  <a:lnTo>
                    <a:pt x="244" y="656"/>
                  </a:lnTo>
                  <a:lnTo>
                    <a:pt x="244" y="657"/>
                  </a:lnTo>
                  <a:lnTo>
                    <a:pt x="242" y="658"/>
                  </a:lnTo>
                  <a:lnTo>
                    <a:pt x="242" y="657"/>
                  </a:lnTo>
                  <a:lnTo>
                    <a:pt x="244" y="655"/>
                  </a:lnTo>
                  <a:lnTo>
                    <a:pt x="244" y="651"/>
                  </a:lnTo>
                  <a:lnTo>
                    <a:pt x="244" y="649"/>
                  </a:lnTo>
                  <a:lnTo>
                    <a:pt x="242" y="647"/>
                  </a:lnTo>
                  <a:lnTo>
                    <a:pt x="242" y="643"/>
                  </a:lnTo>
                  <a:lnTo>
                    <a:pt x="242" y="642"/>
                  </a:lnTo>
                  <a:lnTo>
                    <a:pt x="242" y="642"/>
                  </a:lnTo>
                  <a:lnTo>
                    <a:pt x="241" y="648"/>
                  </a:lnTo>
                  <a:lnTo>
                    <a:pt x="240" y="652"/>
                  </a:lnTo>
                  <a:lnTo>
                    <a:pt x="238" y="656"/>
                  </a:lnTo>
                  <a:lnTo>
                    <a:pt x="238" y="658"/>
                  </a:lnTo>
                  <a:lnTo>
                    <a:pt x="237" y="660"/>
                  </a:lnTo>
                  <a:lnTo>
                    <a:pt x="237" y="661"/>
                  </a:lnTo>
                  <a:lnTo>
                    <a:pt x="237" y="656"/>
                  </a:lnTo>
                  <a:lnTo>
                    <a:pt x="237" y="660"/>
                  </a:lnTo>
                  <a:lnTo>
                    <a:pt x="236" y="662"/>
                  </a:lnTo>
                  <a:lnTo>
                    <a:pt x="235" y="665"/>
                  </a:lnTo>
                  <a:lnTo>
                    <a:pt x="233" y="666"/>
                  </a:lnTo>
                  <a:lnTo>
                    <a:pt x="233" y="666"/>
                  </a:lnTo>
                  <a:lnTo>
                    <a:pt x="233" y="666"/>
                  </a:lnTo>
                  <a:lnTo>
                    <a:pt x="235" y="664"/>
                  </a:lnTo>
                  <a:lnTo>
                    <a:pt x="235" y="660"/>
                  </a:lnTo>
                  <a:lnTo>
                    <a:pt x="235" y="657"/>
                  </a:lnTo>
                  <a:lnTo>
                    <a:pt x="232" y="664"/>
                  </a:lnTo>
                  <a:lnTo>
                    <a:pt x="231" y="667"/>
                  </a:lnTo>
                  <a:lnTo>
                    <a:pt x="229" y="670"/>
                  </a:lnTo>
                  <a:lnTo>
                    <a:pt x="229" y="670"/>
                  </a:lnTo>
                  <a:lnTo>
                    <a:pt x="229" y="670"/>
                  </a:lnTo>
                  <a:lnTo>
                    <a:pt x="228" y="673"/>
                  </a:lnTo>
                  <a:lnTo>
                    <a:pt x="227" y="674"/>
                  </a:lnTo>
                  <a:lnTo>
                    <a:pt x="227" y="674"/>
                  </a:lnTo>
                  <a:lnTo>
                    <a:pt x="227" y="674"/>
                  </a:lnTo>
                  <a:lnTo>
                    <a:pt x="228" y="671"/>
                  </a:lnTo>
                  <a:lnTo>
                    <a:pt x="228" y="669"/>
                  </a:lnTo>
                  <a:lnTo>
                    <a:pt x="229" y="665"/>
                  </a:lnTo>
                  <a:lnTo>
                    <a:pt x="229" y="665"/>
                  </a:lnTo>
                  <a:lnTo>
                    <a:pt x="229" y="664"/>
                  </a:lnTo>
                  <a:lnTo>
                    <a:pt x="229" y="661"/>
                  </a:lnTo>
                  <a:lnTo>
                    <a:pt x="229" y="657"/>
                  </a:lnTo>
                  <a:lnTo>
                    <a:pt x="229" y="652"/>
                  </a:lnTo>
                  <a:lnTo>
                    <a:pt x="228" y="655"/>
                  </a:lnTo>
                  <a:lnTo>
                    <a:pt x="228" y="656"/>
                  </a:lnTo>
                  <a:lnTo>
                    <a:pt x="227" y="660"/>
                  </a:lnTo>
                  <a:lnTo>
                    <a:pt x="226" y="662"/>
                  </a:lnTo>
                  <a:lnTo>
                    <a:pt x="226" y="664"/>
                  </a:lnTo>
                  <a:lnTo>
                    <a:pt x="226" y="662"/>
                  </a:lnTo>
                  <a:lnTo>
                    <a:pt x="224" y="665"/>
                  </a:lnTo>
                  <a:lnTo>
                    <a:pt x="224" y="670"/>
                  </a:lnTo>
                  <a:lnTo>
                    <a:pt x="223" y="674"/>
                  </a:lnTo>
                  <a:lnTo>
                    <a:pt x="223" y="675"/>
                  </a:lnTo>
                  <a:lnTo>
                    <a:pt x="223" y="677"/>
                  </a:lnTo>
                  <a:lnTo>
                    <a:pt x="223" y="675"/>
                  </a:lnTo>
                  <a:lnTo>
                    <a:pt x="223" y="673"/>
                  </a:lnTo>
                  <a:lnTo>
                    <a:pt x="222" y="669"/>
                  </a:lnTo>
                  <a:lnTo>
                    <a:pt x="220" y="674"/>
                  </a:lnTo>
                  <a:lnTo>
                    <a:pt x="218" y="679"/>
                  </a:lnTo>
                  <a:lnTo>
                    <a:pt x="217" y="683"/>
                  </a:lnTo>
                  <a:lnTo>
                    <a:pt x="215" y="686"/>
                  </a:lnTo>
                  <a:lnTo>
                    <a:pt x="214" y="687"/>
                  </a:lnTo>
                  <a:lnTo>
                    <a:pt x="213" y="687"/>
                  </a:lnTo>
                  <a:lnTo>
                    <a:pt x="214" y="687"/>
                  </a:lnTo>
                  <a:lnTo>
                    <a:pt x="214" y="684"/>
                  </a:lnTo>
                  <a:lnTo>
                    <a:pt x="215" y="682"/>
                  </a:lnTo>
                  <a:lnTo>
                    <a:pt x="217" y="678"/>
                  </a:lnTo>
                  <a:lnTo>
                    <a:pt x="217" y="678"/>
                  </a:lnTo>
                  <a:lnTo>
                    <a:pt x="215" y="680"/>
                  </a:lnTo>
                  <a:lnTo>
                    <a:pt x="214" y="683"/>
                  </a:lnTo>
                  <a:lnTo>
                    <a:pt x="214" y="683"/>
                  </a:lnTo>
                  <a:lnTo>
                    <a:pt x="214" y="683"/>
                  </a:lnTo>
                  <a:lnTo>
                    <a:pt x="214" y="679"/>
                  </a:lnTo>
                  <a:lnTo>
                    <a:pt x="215" y="675"/>
                  </a:lnTo>
                  <a:lnTo>
                    <a:pt x="215" y="669"/>
                  </a:lnTo>
                  <a:lnTo>
                    <a:pt x="214" y="671"/>
                  </a:lnTo>
                  <a:lnTo>
                    <a:pt x="214" y="671"/>
                  </a:lnTo>
                  <a:lnTo>
                    <a:pt x="214" y="671"/>
                  </a:lnTo>
                  <a:lnTo>
                    <a:pt x="213" y="671"/>
                  </a:lnTo>
                  <a:lnTo>
                    <a:pt x="213" y="678"/>
                  </a:lnTo>
                  <a:lnTo>
                    <a:pt x="211" y="682"/>
                  </a:lnTo>
                  <a:lnTo>
                    <a:pt x="209" y="682"/>
                  </a:lnTo>
                  <a:lnTo>
                    <a:pt x="209" y="682"/>
                  </a:lnTo>
                  <a:lnTo>
                    <a:pt x="209" y="682"/>
                  </a:lnTo>
                  <a:lnTo>
                    <a:pt x="209" y="680"/>
                  </a:lnTo>
                  <a:lnTo>
                    <a:pt x="209" y="682"/>
                  </a:lnTo>
                  <a:lnTo>
                    <a:pt x="209" y="684"/>
                  </a:lnTo>
                  <a:lnTo>
                    <a:pt x="206" y="688"/>
                  </a:lnTo>
                  <a:lnTo>
                    <a:pt x="206" y="691"/>
                  </a:lnTo>
                  <a:lnTo>
                    <a:pt x="205" y="692"/>
                  </a:lnTo>
                  <a:lnTo>
                    <a:pt x="205" y="691"/>
                  </a:lnTo>
                  <a:lnTo>
                    <a:pt x="206" y="691"/>
                  </a:lnTo>
                  <a:lnTo>
                    <a:pt x="206" y="691"/>
                  </a:lnTo>
                  <a:lnTo>
                    <a:pt x="205" y="692"/>
                  </a:lnTo>
                  <a:lnTo>
                    <a:pt x="205" y="692"/>
                  </a:lnTo>
                  <a:lnTo>
                    <a:pt x="205" y="692"/>
                  </a:lnTo>
                  <a:lnTo>
                    <a:pt x="205" y="692"/>
                  </a:lnTo>
                  <a:lnTo>
                    <a:pt x="205" y="692"/>
                  </a:lnTo>
                  <a:lnTo>
                    <a:pt x="205" y="691"/>
                  </a:lnTo>
                  <a:lnTo>
                    <a:pt x="205" y="688"/>
                  </a:lnTo>
                  <a:lnTo>
                    <a:pt x="206" y="683"/>
                  </a:lnTo>
                  <a:lnTo>
                    <a:pt x="206" y="680"/>
                  </a:lnTo>
                  <a:lnTo>
                    <a:pt x="208" y="679"/>
                  </a:lnTo>
                  <a:lnTo>
                    <a:pt x="208" y="678"/>
                  </a:lnTo>
                  <a:lnTo>
                    <a:pt x="206" y="679"/>
                  </a:lnTo>
                  <a:lnTo>
                    <a:pt x="206" y="679"/>
                  </a:lnTo>
                  <a:lnTo>
                    <a:pt x="206" y="679"/>
                  </a:lnTo>
                  <a:lnTo>
                    <a:pt x="206" y="679"/>
                  </a:lnTo>
                  <a:lnTo>
                    <a:pt x="204" y="684"/>
                  </a:lnTo>
                  <a:lnTo>
                    <a:pt x="202" y="689"/>
                  </a:lnTo>
                  <a:lnTo>
                    <a:pt x="201" y="693"/>
                  </a:lnTo>
                  <a:lnTo>
                    <a:pt x="200" y="695"/>
                  </a:lnTo>
                  <a:lnTo>
                    <a:pt x="200" y="693"/>
                  </a:lnTo>
                  <a:lnTo>
                    <a:pt x="199" y="697"/>
                  </a:lnTo>
                  <a:lnTo>
                    <a:pt x="197" y="700"/>
                  </a:lnTo>
                  <a:lnTo>
                    <a:pt x="197" y="701"/>
                  </a:lnTo>
                  <a:lnTo>
                    <a:pt x="197" y="700"/>
                  </a:lnTo>
                  <a:lnTo>
                    <a:pt x="199" y="697"/>
                  </a:lnTo>
                  <a:lnTo>
                    <a:pt x="199" y="695"/>
                  </a:lnTo>
                  <a:lnTo>
                    <a:pt x="200" y="689"/>
                  </a:lnTo>
                  <a:lnTo>
                    <a:pt x="200" y="686"/>
                  </a:lnTo>
                  <a:lnTo>
                    <a:pt x="199" y="687"/>
                  </a:lnTo>
                  <a:lnTo>
                    <a:pt x="197" y="689"/>
                  </a:lnTo>
                  <a:lnTo>
                    <a:pt x="196" y="692"/>
                  </a:lnTo>
                  <a:lnTo>
                    <a:pt x="196" y="695"/>
                  </a:lnTo>
                  <a:lnTo>
                    <a:pt x="195" y="696"/>
                  </a:lnTo>
                  <a:lnTo>
                    <a:pt x="195" y="696"/>
                  </a:lnTo>
                  <a:lnTo>
                    <a:pt x="195" y="696"/>
                  </a:lnTo>
                  <a:lnTo>
                    <a:pt x="195" y="693"/>
                  </a:lnTo>
                  <a:lnTo>
                    <a:pt x="196" y="691"/>
                  </a:lnTo>
                  <a:lnTo>
                    <a:pt x="195" y="692"/>
                  </a:lnTo>
                  <a:lnTo>
                    <a:pt x="193" y="695"/>
                  </a:lnTo>
                  <a:lnTo>
                    <a:pt x="192" y="697"/>
                  </a:lnTo>
                  <a:lnTo>
                    <a:pt x="191" y="700"/>
                  </a:lnTo>
                  <a:lnTo>
                    <a:pt x="189" y="702"/>
                  </a:lnTo>
                  <a:lnTo>
                    <a:pt x="189" y="704"/>
                  </a:lnTo>
                  <a:lnTo>
                    <a:pt x="189" y="704"/>
                  </a:lnTo>
                  <a:lnTo>
                    <a:pt x="189" y="704"/>
                  </a:lnTo>
                  <a:lnTo>
                    <a:pt x="189" y="701"/>
                  </a:lnTo>
                  <a:lnTo>
                    <a:pt x="188" y="700"/>
                  </a:lnTo>
                  <a:lnTo>
                    <a:pt x="189" y="695"/>
                  </a:lnTo>
                  <a:lnTo>
                    <a:pt x="188" y="695"/>
                  </a:lnTo>
                  <a:lnTo>
                    <a:pt x="187" y="700"/>
                  </a:lnTo>
                  <a:lnTo>
                    <a:pt x="186" y="702"/>
                  </a:lnTo>
                  <a:lnTo>
                    <a:pt x="186" y="706"/>
                  </a:lnTo>
                  <a:lnTo>
                    <a:pt x="184" y="708"/>
                  </a:lnTo>
                  <a:lnTo>
                    <a:pt x="184" y="710"/>
                  </a:lnTo>
                  <a:lnTo>
                    <a:pt x="184" y="710"/>
                  </a:lnTo>
                  <a:lnTo>
                    <a:pt x="184" y="710"/>
                  </a:lnTo>
                  <a:lnTo>
                    <a:pt x="184" y="708"/>
                  </a:lnTo>
                  <a:lnTo>
                    <a:pt x="184" y="706"/>
                  </a:lnTo>
                  <a:lnTo>
                    <a:pt x="184" y="702"/>
                  </a:lnTo>
                  <a:lnTo>
                    <a:pt x="184" y="700"/>
                  </a:lnTo>
                  <a:lnTo>
                    <a:pt x="183" y="704"/>
                  </a:lnTo>
                  <a:lnTo>
                    <a:pt x="182" y="708"/>
                  </a:lnTo>
                  <a:lnTo>
                    <a:pt x="180" y="711"/>
                  </a:lnTo>
                  <a:lnTo>
                    <a:pt x="179" y="713"/>
                  </a:lnTo>
                  <a:lnTo>
                    <a:pt x="179" y="717"/>
                  </a:lnTo>
                  <a:lnTo>
                    <a:pt x="179" y="719"/>
                  </a:lnTo>
                  <a:lnTo>
                    <a:pt x="179" y="720"/>
                  </a:lnTo>
                  <a:lnTo>
                    <a:pt x="179" y="719"/>
                  </a:lnTo>
                  <a:lnTo>
                    <a:pt x="178" y="718"/>
                  </a:lnTo>
                  <a:lnTo>
                    <a:pt x="178" y="715"/>
                  </a:lnTo>
                  <a:lnTo>
                    <a:pt x="178" y="711"/>
                  </a:lnTo>
                  <a:lnTo>
                    <a:pt x="177" y="713"/>
                  </a:lnTo>
                  <a:lnTo>
                    <a:pt x="177" y="713"/>
                  </a:lnTo>
                  <a:lnTo>
                    <a:pt x="177" y="713"/>
                  </a:lnTo>
                  <a:lnTo>
                    <a:pt x="177" y="710"/>
                  </a:lnTo>
                  <a:lnTo>
                    <a:pt x="177" y="704"/>
                  </a:lnTo>
                  <a:lnTo>
                    <a:pt x="177" y="705"/>
                  </a:lnTo>
                  <a:lnTo>
                    <a:pt x="175" y="708"/>
                  </a:lnTo>
                  <a:lnTo>
                    <a:pt x="174" y="709"/>
                  </a:lnTo>
                  <a:lnTo>
                    <a:pt x="174" y="711"/>
                  </a:lnTo>
                  <a:lnTo>
                    <a:pt x="173" y="713"/>
                  </a:lnTo>
                  <a:lnTo>
                    <a:pt x="171" y="717"/>
                  </a:lnTo>
                  <a:lnTo>
                    <a:pt x="170" y="718"/>
                  </a:lnTo>
                  <a:lnTo>
                    <a:pt x="170" y="718"/>
                  </a:lnTo>
                  <a:lnTo>
                    <a:pt x="170" y="719"/>
                  </a:lnTo>
                  <a:lnTo>
                    <a:pt x="171" y="719"/>
                  </a:lnTo>
                  <a:lnTo>
                    <a:pt x="171" y="719"/>
                  </a:lnTo>
                  <a:lnTo>
                    <a:pt x="171" y="719"/>
                  </a:lnTo>
                  <a:lnTo>
                    <a:pt x="170" y="719"/>
                  </a:lnTo>
                  <a:lnTo>
                    <a:pt x="170" y="719"/>
                  </a:lnTo>
                  <a:lnTo>
                    <a:pt x="169" y="722"/>
                  </a:lnTo>
                  <a:lnTo>
                    <a:pt x="168" y="727"/>
                  </a:lnTo>
                  <a:lnTo>
                    <a:pt x="166" y="729"/>
                  </a:lnTo>
                  <a:lnTo>
                    <a:pt x="165" y="732"/>
                  </a:lnTo>
                  <a:lnTo>
                    <a:pt x="165" y="733"/>
                  </a:lnTo>
                  <a:lnTo>
                    <a:pt x="165" y="732"/>
                  </a:lnTo>
                  <a:lnTo>
                    <a:pt x="166" y="729"/>
                  </a:lnTo>
                  <a:lnTo>
                    <a:pt x="166" y="726"/>
                  </a:lnTo>
                  <a:lnTo>
                    <a:pt x="168" y="720"/>
                  </a:lnTo>
                  <a:lnTo>
                    <a:pt x="168" y="719"/>
                  </a:lnTo>
                  <a:lnTo>
                    <a:pt x="166" y="720"/>
                  </a:lnTo>
                  <a:lnTo>
                    <a:pt x="166" y="718"/>
                  </a:lnTo>
                  <a:lnTo>
                    <a:pt x="168" y="718"/>
                  </a:lnTo>
                  <a:lnTo>
                    <a:pt x="168" y="715"/>
                  </a:lnTo>
                  <a:lnTo>
                    <a:pt x="168" y="713"/>
                  </a:lnTo>
                  <a:lnTo>
                    <a:pt x="168" y="715"/>
                  </a:lnTo>
                  <a:lnTo>
                    <a:pt x="168" y="715"/>
                  </a:lnTo>
                  <a:lnTo>
                    <a:pt x="168" y="715"/>
                  </a:lnTo>
                  <a:lnTo>
                    <a:pt x="168" y="713"/>
                  </a:lnTo>
                  <a:lnTo>
                    <a:pt x="168" y="710"/>
                  </a:lnTo>
                  <a:lnTo>
                    <a:pt x="166" y="711"/>
                  </a:lnTo>
                  <a:lnTo>
                    <a:pt x="166" y="713"/>
                  </a:lnTo>
                  <a:lnTo>
                    <a:pt x="166" y="714"/>
                  </a:lnTo>
                  <a:lnTo>
                    <a:pt x="166" y="715"/>
                  </a:lnTo>
                  <a:lnTo>
                    <a:pt x="165" y="719"/>
                  </a:lnTo>
                  <a:lnTo>
                    <a:pt x="164" y="722"/>
                  </a:lnTo>
                  <a:lnTo>
                    <a:pt x="162" y="724"/>
                  </a:lnTo>
                  <a:lnTo>
                    <a:pt x="162" y="726"/>
                  </a:lnTo>
                  <a:lnTo>
                    <a:pt x="162" y="724"/>
                  </a:lnTo>
                  <a:lnTo>
                    <a:pt x="164" y="724"/>
                  </a:lnTo>
                  <a:lnTo>
                    <a:pt x="164" y="724"/>
                  </a:lnTo>
                  <a:lnTo>
                    <a:pt x="162" y="726"/>
                  </a:lnTo>
                  <a:lnTo>
                    <a:pt x="162" y="726"/>
                  </a:lnTo>
                  <a:lnTo>
                    <a:pt x="162" y="726"/>
                  </a:lnTo>
                  <a:lnTo>
                    <a:pt x="162" y="724"/>
                  </a:lnTo>
                  <a:lnTo>
                    <a:pt x="162" y="724"/>
                  </a:lnTo>
                  <a:lnTo>
                    <a:pt x="161" y="727"/>
                  </a:lnTo>
                  <a:lnTo>
                    <a:pt x="159" y="736"/>
                  </a:lnTo>
                  <a:lnTo>
                    <a:pt x="159" y="736"/>
                  </a:lnTo>
                  <a:lnTo>
                    <a:pt x="159" y="732"/>
                  </a:lnTo>
                  <a:lnTo>
                    <a:pt x="159" y="727"/>
                  </a:lnTo>
                  <a:lnTo>
                    <a:pt x="160" y="722"/>
                  </a:lnTo>
                  <a:lnTo>
                    <a:pt x="160" y="715"/>
                  </a:lnTo>
                  <a:lnTo>
                    <a:pt x="159" y="717"/>
                  </a:lnTo>
                  <a:lnTo>
                    <a:pt x="156" y="728"/>
                  </a:lnTo>
                  <a:lnTo>
                    <a:pt x="156" y="737"/>
                  </a:lnTo>
                  <a:lnTo>
                    <a:pt x="155" y="740"/>
                  </a:lnTo>
                  <a:lnTo>
                    <a:pt x="155" y="740"/>
                  </a:lnTo>
                  <a:lnTo>
                    <a:pt x="155" y="737"/>
                  </a:lnTo>
                  <a:lnTo>
                    <a:pt x="155" y="733"/>
                  </a:lnTo>
                  <a:lnTo>
                    <a:pt x="153" y="728"/>
                  </a:lnTo>
                  <a:lnTo>
                    <a:pt x="153" y="722"/>
                  </a:lnTo>
                  <a:lnTo>
                    <a:pt x="153" y="723"/>
                  </a:lnTo>
                  <a:lnTo>
                    <a:pt x="150" y="733"/>
                  </a:lnTo>
                  <a:lnTo>
                    <a:pt x="150" y="738"/>
                  </a:lnTo>
                  <a:lnTo>
                    <a:pt x="150" y="741"/>
                  </a:lnTo>
                  <a:lnTo>
                    <a:pt x="150" y="742"/>
                  </a:lnTo>
                  <a:lnTo>
                    <a:pt x="150" y="741"/>
                  </a:lnTo>
                  <a:lnTo>
                    <a:pt x="148" y="740"/>
                  </a:lnTo>
                  <a:lnTo>
                    <a:pt x="148" y="737"/>
                  </a:lnTo>
                  <a:lnTo>
                    <a:pt x="147" y="741"/>
                  </a:lnTo>
                  <a:lnTo>
                    <a:pt x="144" y="745"/>
                  </a:lnTo>
                  <a:lnTo>
                    <a:pt x="143" y="749"/>
                  </a:lnTo>
                  <a:lnTo>
                    <a:pt x="142" y="751"/>
                  </a:lnTo>
                  <a:lnTo>
                    <a:pt x="142" y="751"/>
                  </a:lnTo>
                  <a:lnTo>
                    <a:pt x="142" y="751"/>
                  </a:lnTo>
                  <a:lnTo>
                    <a:pt x="143" y="749"/>
                  </a:lnTo>
                  <a:lnTo>
                    <a:pt x="143" y="745"/>
                  </a:lnTo>
                  <a:lnTo>
                    <a:pt x="146" y="740"/>
                  </a:lnTo>
                  <a:lnTo>
                    <a:pt x="147" y="735"/>
                  </a:lnTo>
                  <a:lnTo>
                    <a:pt x="147" y="735"/>
                  </a:lnTo>
                  <a:lnTo>
                    <a:pt x="146" y="737"/>
                  </a:lnTo>
                  <a:lnTo>
                    <a:pt x="144" y="740"/>
                  </a:lnTo>
                  <a:lnTo>
                    <a:pt x="144" y="742"/>
                  </a:lnTo>
                  <a:lnTo>
                    <a:pt x="143" y="745"/>
                  </a:lnTo>
                  <a:lnTo>
                    <a:pt x="143" y="746"/>
                  </a:lnTo>
                  <a:lnTo>
                    <a:pt x="143" y="746"/>
                  </a:lnTo>
                  <a:lnTo>
                    <a:pt x="143" y="745"/>
                  </a:lnTo>
                  <a:lnTo>
                    <a:pt x="142" y="742"/>
                  </a:lnTo>
                  <a:lnTo>
                    <a:pt x="142" y="738"/>
                  </a:lnTo>
                  <a:lnTo>
                    <a:pt x="142" y="735"/>
                  </a:lnTo>
                  <a:lnTo>
                    <a:pt x="141" y="737"/>
                  </a:lnTo>
                  <a:lnTo>
                    <a:pt x="141" y="741"/>
                  </a:lnTo>
                  <a:lnTo>
                    <a:pt x="139" y="744"/>
                  </a:lnTo>
                  <a:lnTo>
                    <a:pt x="139" y="744"/>
                  </a:lnTo>
                  <a:lnTo>
                    <a:pt x="139" y="744"/>
                  </a:lnTo>
                  <a:lnTo>
                    <a:pt x="139" y="742"/>
                  </a:lnTo>
                  <a:lnTo>
                    <a:pt x="139" y="744"/>
                  </a:lnTo>
                  <a:lnTo>
                    <a:pt x="139" y="748"/>
                  </a:lnTo>
                  <a:lnTo>
                    <a:pt x="139" y="751"/>
                  </a:lnTo>
                  <a:lnTo>
                    <a:pt x="138" y="753"/>
                  </a:lnTo>
                  <a:lnTo>
                    <a:pt x="138" y="754"/>
                  </a:lnTo>
                  <a:lnTo>
                    <a:pt x="138" y="753"/>
                  </a:lnTo>
                  <a:lnTo>
                    <a:pt x="138" y="751"/>
                  </a:lnTo>
                  <a:lnTo>
                    <a:pt x="137" y="749"/>
                  </a:lnTo>
                  <a:lnTo>
                    <a:pt x="137" y="749"/>
                  </a:lnTo>
                  <a:lnTo>
                    <a:pt x="137" y="754"/>
                  </a:lnTo>
                  <a:lnTo>
                    <a:pt x="138" y="760"/>
                  </a:lnTo>
                  <a:lnTo>
                    <a:pt x="141" y="764"/>
                  </a:lnTo>
                  <a:lnTo>
                    <a:pt x="143" y="768"/>
                  </a:lnTo>
                  <a:lnTo>
                    <a:pt x="150" y="773"/>
                  </a:lnTo>
                  <a:lnTo>
                    <a:pt x="156" y="779"/>
                  </a:lnTo>
                  <a:lnTo>
                    <a:pt x="164" y="782"/>
                  </a:lnTo>
                  <a:lnTo>
                    <a:pt x="173" y="788"/>
                  </a:lnTo>
                  <a:lnTo>
                    <a:pt x="178" y="789"/>
                  </a:lnTo>
                  <a:lnTo>
                    <a:pt x="182" y="791"/>
                  </a:lnTo>
                  <a:lnTo>
                    <a:pt x="191" y="794"/>
                  </a:lnTo>
                  <a:lnTo>
                    <a:pt x="200" y="795"/>
                  </a:lnTo>
                  <a:lnTo>
                    <a:pt x="206" y="798"/>
                  </a:lnTo>
                  <a:lnTo>
                    <a:pt x="211" y="800"/>
                  </a:lnTo>
                  <a:lnTo>
                    <a:pt x="215" y="803"/>
                  </a:lnTo>
                  <a:lnTo>
                    <a:pt x="218" y="803"/>
                  </a:lnTo>
                  <a:lnTo>
                    <a:pt x="220" y="806"/>
                  </a:lnTo>
                  <a:lnTo>
                    <a:pt x="222" y="807"/>
                  </a:lnTo>
                  <a:lnTo>
                    <a:pt x="223" y="808"/>
                  </a:lnTo>
                  <a:lnTo>
                    <a:pt x="223" y="811"/>
                  </a:lnTo>
                  <a:lnTo>
                    <a:pt x="223" y="813"/>
                  </a:lnTo>
                  <a:lnTo>
                    <a:pt x="223" y="815"/>
                  </a:lnTo>
                  <a:lnTo>
                    <a:pt x="222" y="817"/>
                  </a:lnTo>
                  <a:lnTo>
                    <a:pt x="220" y="819"/>
                  </a:lnTo>
                  <a:lnTo>
                    <a:pt x="217" y="821"/>
                  </a:lnTo>
                  <a:lnTo>
                    <a:pt x="213" y="822"/>
                  </a:lnTo>
                  <a:lnTo>
                    <a:pt x="210" y="822"/>
                  </a:lnTo>
                  <a:lnTo>
                    <a:pt x="208" y="822"/>
                  </a:lnTo>
                  <a:lnTo>
                    <a:pt x="206" y="822"/>
                  </a:lnTo>
                  <a:lnTo>
                    <a:pt x="206" y="822"/>
                  </a:lnTo>
                  <a:lnTo>
                    <a:pt x="205" y="824"/>
                  </a:lnTo>
                  <a:lnTo>
                    <a:pt x="205" y="824"/>
                  </a:lnTo>
                  <a:lnTo>
                    <a:pt x="205" y="825"/>
                  </a:lnTo>
                  <a:lnTo>
                    <a:pt x="204" y="825"/>
                  </a:lnTo>
                  <a:lnTo>
                    <a:pt x="204" y="826"/>
                  </a:lnTo>
                  <a:lnTo>
                    <a:pt x="204" y="826"/>
                  </a:lnTo>
                  <a:lnTo>
                    <a:pt x="202" y="826"/>
                  </a:lnTo>
                  <a:lnTo>
                    <a:pt x="201" y="826"/>
                  </a:lnTo>
                  <a:lnTo>
                    <a:pt x="200" y="826"/>
                  </a:lnTo>
                  <a:lnTo>
                    <a:pt x="200" y="826"/>
                  </a:lnTo>
                  <a:lnTo>
                    <a:pt x="195" y="828"/>
                  </a:lnTo>
                  <a:lnTo>
                    <a:pt x="189" y="829"/>
                  </a:lnTo>
                  <a:lnTo>
                    <a:pt x="184" y="829"/>
                  </a:lnTo>
                  <a:lnTo>
                    <a:pt x="179" y="828"/>
                  </a:lnTo>
                  <a:lnTo>
                    <a:pt x="180" y="830"/>
                  </a:lnTo>
                  <a:lnTo>
                    <a:pt x="179" y="834"/>
                  </a:lnTo>
                  <a:lnTo>
                    <a:pt x="178" y="837"/>
                  </a:lnTo>
                  <a:lnTo>
                    <a:pt x="174" y="838"/>
                  </a:lnTo>
                  <a:lnTo>
                    <a:pt x="171" y="839"/>
                  </a:lnTo>
                  <a:lnTo>
                    <a:pt x="169" y="839"/>
                  </a:lnTo>
                  <a:lnTo>
                    <a:pt x="166" y="839"/>
                  </a:lnTo>
                  <a:lnTo>
                    <a:pt x="165" y="838"/>
                  </a:lnTo>
                  <a:lnTo>
                    <a:pt x="162" y="835"/>
                  </a:lnTo>
                  <a:lnTo>
                    <a:pt x="161" y="834"/>
                  </a:lnTo>
                  <a:lnTo>
                    <a:pt x="159" y="831"/>
                  </a:lnTo>
                  <a:lnTo>
                    <a:pt x="156" y="830"/>
                  </a:lnTo>
                  <a:lnTo>
                    <a:pt x="153" y="829"/>
                  </a:lnTo>
                  <a:lnTo>
                    <a:pt x="150" y="828"/>
                  </a:lnTo>
                  <a:lnTo>
                    <a:pt x="148" y="828"/>
                  </a:lnTo>
                  <a:lnTo>
                    <a:pt x="143" y="826"/>
                  </a:lnTo>
                  <a:lnTo>
                    <a:pt x="137" y="825"/>
                  </a:lnTo>
                  <a:lnTo>
                    <a:pt x="130" y="824"/>
                  </a:lnTo>
                  <a:lnTo>
                    <a:pt x="124" y="821"/>
                  </a:lnTo>
                  <a:lnTo>
                    <a:pt x="126" y="824"/>
                  </a:lnTo>
                  <a:lnTo>
                    <a:pt x="129" y="825"/>
                  </a:lnTo>
                  <a:lnTo>
                    <a:pt x="130" y="826"/>
                  </a:lnTo>
                  <a:lnTo>
                    <a:pt x="130" y="826"/>
                  </a:lnTo>
                  <a:lnTo>
                    <a:pt x="128" y="825"/>
                  </a:lnTo>
                  <a:lnTo>
                    <a:pt x="119" y="821"/>
                  </a:lnTo>
                  <a:lnTo>
                    <a:pt x="108" y="816"/>
                  </a:lnTo>
                  <a:lnTo>
                    <a:pt x="102" y="813"/>
                  </a:lnTo>
                  <a:lnTo>
                    <a:pt x="98" y="813"/>
                  </a:lnTo>
                  <a:lnTo>
                    <a:pt x="94" y="815"/>
                  </a:lnTo>
                  <a:lnTo>
                    <a:pt x="94" y="815"/>
                  </a:lnTo>
                  <a:lnTo>
                    <a:pt x="94" y="815"/>
                  </a:lnTo>
                  <a:lnTo>
                    <a:pt x="89" y="815"/>
                  </a:lnTo>
                  <a:lnTo>
                    <a:pt x="89" y="815"/>
                  </a:lnTo>
                  <a:lnTo>
                    <a:pt x="90" y="816"/>
                  </a:lnTo>
                  <a:lnTo>
                    <a:pt x="90" y="817"/>
                  </a:lnTo>
                  <a:lnTo>
                    <a:pt x="89" y="816"/>
                  </a:lnTo>
                  <a:lnTo>
                    <a:pt x="89" y="816"/>
                  </a:lnTo>
                  <a:lnTo>
                    <a:pt x="86" y="815"/>
                  </a:lnTo>
                  <a:lnTo>
                    <a:pt x="86" y="815"/>
                  </a:lnTo>
                  <a:lnTo>
                    <a:pt x="83" y="815"/>
                  </a:lnTo>
                  <a:lnTo>
                    <a:pt x="84" y="816"/>
                  </a:lnTo>
                  <a:lnTo>
                    <a:pt x="85" y="817"/>
                  </a:lnTo>
                  <a:lnTo>
                    <a:pt x="85" y="817"/>
                  </a:lnTo>
                  <a:lnTo>
                    <a:pt x="85" y="817"/>
                  </a:lnTo>
                  <a:lnTo>
                    <a:pt x="83" y="816"/>
                  </a:lnTo>
                  <a:lnTo>
                    <a:pt x="80" y="815"/>
                  </a:lnTo>
                  <a:lnTo>
                    <a:pt x="81" y="816"/>
                  </a:lnTo>
                  <a:lnTo>
                    <a:pt x="81" y="817"/>
                  </a:lnTo>
                  <a:lnTo>
                    <a:pt x="80" y="816"/>
                  </a:lnTo>
                  <a:lnTo>
                    <a:pt x="77" y="816"/>
                  </a:lnTo>
                  <a:lnTo>
                    <a:pt x="77" y="815"/>
                  </a:lnTo>
                  <a:lnTo>
                    <a:pt x="77" y="816"/>
                  </a:lnTo>
                  <a:lnTo>
                    <a:pt x="79" y="817"/>
                  </a:lnTo>
                  <a:lnTo>
                    <a:pt x="83" y="819"/>
                  </a:lnTo>
                  <a:lnTo>
                    <a:pt x="85" y="819"/>
                  </a:lnTo>
                  <a:lnTo>
                    <a:pt x="85" y="819"/>
                  </a:lnTo>
                  <a:lnTo>
                    <a:pt x="85" y="819"/>
                  </a:lnTo>
                  <a:lnTo>
                    <a:pt x="83" y="819"/>
                  </a:lnTo>
                  <a:lnTo>
                    <a:pt x="79" y="817"/>
                  </a:lnTo>
                  <a:lnTo>
                    <a:pt x="80" y="819"/>
                  </a:lnTo>
                  <a:lnTo>
                    <a:pt x="79" y="819"/>
                  </a:lnTo>
                  <a:lnTo>
                    <a:pt x="77" y="817"/>
                  </a:lnTo>
                  <a:lnTo>
                    <a:pt x="75" y="817"/>
                  </a:lnTo>
                  <a:lnTo>
                    <a:pt x="75" y="819"/>
                  </a:lnTo>
                  <a:lnTo>
                    <a:pt x="76" y="819"/>
                  </a:lnTo>
                  <a:lnTo>
                    <a:pt x="75" y="819"/>
                  </a:lnTo>
                  <a:lnTo>
                    <a:pt x="73" y="819"/>
                  </a:lnTo>
                  <a:lnTo>
                    <a:pt x="71" y="816"/>
                  </a:lnTo>
                  <a:lnTo>
                    <a:pt x="66" y="816"/>
                  </a:lnTo>
                  <a:lnTo>
                    <a:pt x="61" y="813"/>
                  </a:lnTo>
                  <a:lnTo>
                    <a:pt x="54" y="812"/>
                  </a:lnTo>
                  <a:lnTo>
                    <a:pt x="50" y="810"/>
                  </a:lnTo>
                  <a:lnTo>
                    <a:pt x="50" y="811"/>
                  </a:lnTo>
                  <a:lnTo>
                    <a:pt x="49" y="811"/>
                  </a:lnTo>
                  <a:lnTo>
                    <a:pt x="49" y="810"/>
                  </a:lnTo>
                  <a:lnTo>
                    <a:pt x="48" y="808"/>
                  </a:lnTo>
                  <a:lnTo>
                    <a:pt x="46" y="807"/>
                  </a:lnTo>
                  <a:lnTo>
                    <a:pt x="44" y="804"/>
                  </a:lnTo>
                  <a:lnTo>
                    <a:pt x="44" y="804"/>
                  </a:lnTo>
                  <a:lnTo>
                    <a:pt x="44" y="804"/>
                  </a:lnTo>
                  <a:lnTo>
                    <a:pt x="43" y="803"/>
                  </a:lnTo>
                  <a:lnTo>
                    <a:pt x="41" y="800"/>
                  </a:lnTo>
                  <a:lnTo>
                    <a:pt x="39" y="795"/>
                  </a:lnTo>
                  <a:lnTo>
                    <a:pt x="37" y="789"/>
                  </a:lnTo>
                  <a:lnTo>
                    <a:pt x="39" y="782"/>
                  </a:lnTo>
                  <a:lnTo>
                    <a:pt x="40" y="776"/>
                  </a:lnTo>
                  <a:lnTo>
                    <a:pt x="45" y="763"/>
                  </a:lnTo>
                  <a:lnTo>
                    <a:pt x="53" y="750"/>
                  </a:lnTo>
                  <a:lnTo>
                    <a:pt x="72" y="726"/>
                  </a:lnTo>
                  <a:lnTo>
                    <a:pt x="94" y="700"/>
                  </a:lnTo>
                  <a:lnTo>
                    <a:pt x="94" y="698"/>
                  </a:lnTo>
                  <a:lnTo>
                    <a:pt x="95" y="696"/>
                  </a:lnTo>
                  <a:lnTo>
                    <a:pt x="95" y="693"/>
                  </a:lnTo>
                  <a:lnTo>
                    <a:pt x="97" y="692"/>
                  </a:lnTo>
                  <a:lnTo>
                    <a:pt x="97" y="691"/>
                  </a:lnTo>
                  <a:lnTo>
                    <a:pt x="97" y="692"/>
                  </a:lnTo>
                  <a:lnTo>
                    <a:pt x="98" y="693"/>
                  </a:lnTo>
                  <a:lnTo>
                    <a:pt x="99" y="692"/>
                  </a:lnTo>
                  <a:lnTo>
                    <a:pt x="101" y="689"/>
                  </a:lnTo>
                  <a:lnTo>
                    <a:pt x="103" y="686"/>
                  </a:lnTo>
                  <a:lnTo>
                    <a:pt x="103" y="683"/>
                  </a:lnTo>
                  <a:lnTo>
                    <a:pt x="104" y="680"/>
                  </a:lnTo>
                  <a:lnTo>
                    <a:pt x="106" y="679"/>
                  </a:lnTo>
                  <a:lnTo>
                    <a:pt x="106" y="679"/>
                  </a:lnTo>
                  <a:lnTo>
                    <a:pt x="106" y="679"/>
                  </a:lnTo>
                  <a:lnTo>
                    <a:pt x="110" y="670"/>
                  </a:lnTo>
                  <a:lnTo>
                    <a:pt x="110" y="667"/>
                  </a:lnTo>
                  <a:lnTo>
                    <a:pt x="110" y="666"/>
                  </a:lnTo>
                  <a:lnTo>
                    <a:pt x="110" y="662"/>
                  </a:lnTo>
                  <a:lnTo>
                    <a:pt x="111" y="660"/>
                  </a:lnTo>
                  <a:lnTo>
                    <a:pt x="111" y="657"/>
                  </a:lnTo>
                  <a:lnTo>
                    <a:pt x="112" y="655"/>
                  </a:lnTo>
                  <a:lnTo>
                    <a:pt x="112" y="655"/>
                  </a:lnTo>
                  <a:lnTo>
                    <a:pt x="112" y="655"/>
                  </a:lnTo>
                  <a:lnTo>
                    <a:pt x="112" y="656"/>
                  </a:lnTo>
                  <a:lnTo>
                    <a:pt x="113" y="658"/>
                  </a:lnTo>
                  <a:lnTo>
                    <a:pt x="116" y="648"/>
                  </a:lnTo>
                  <a:lnTo>
                    <a:pt x="117" y="646"/>
                  </a:lnTo>
                  <a:lnTo>
                    <a:pt x="117" y="643"/>
                  </a:lnTo>
                  <a:lnTo>
                    <a:pt x="119" y="643"/>
                  </a:lnTo>
                  <a:lnTo>
                    <a:pt x="119" y="643"/>
                  </a:lnTo>
                  <a:lnTo>
                    <a:pt x="119" y="640"/>
                  </a:lnTo>
                  <a:lnTo>
                    <a:pt x="122" y="631"/>
                  </a:lnTo>
                  <a:lnTo>
                    <a:pt x="126" y="624"/>
                  </a:lnTo>
                  <a:lnTo>
                    <a:pt x="128" y="620"/>
                  </a:lnTo>
                  <a:lnTo>
                    <a:pt x="129" y="617"/>
                  </a:lnTo>
                  <a:lnTo>
                    <a:pt x="129" y="617"/>
                  </a:lnTo>
                  <a:lnTo>
                    <a:pt x="129" y="617"/>
                  </a:lnTo>
                  <a:lnTo>
                    <a:pt x="129" y="620"/>
                  </a:lnTo>
                  <a:lnTo>
                    <a:pt x="131" y="616"/>
                  </a:lnTo>
                  <a:lnTo>
                    <a:pt x="133" y="615"/>
                  </a:lnTo>
                  <a:lnTo>
                    <a:pt x="133" y="613"/>
                  </a:lnTo>
                  <a:lnTo>
                    <a:pt x="133" y="615"/>
                  </a:lnTo>
                  <a:lnTo>
                    <a:pt x="134" y="612"/>
                  </a:lnTo>
                  <a:lnTo>
                    <a:pt x="135" y="609"/>
                  </a:lnTo>
                  <a:lnTo>
                    <a:pt x="135" y="608"/>
                  </a:lnTo>
                  <a:lnTo>
                    <a:pt x="135" y="607"/>
                  </a:lnTo>
                  <a:lnTo>
                    <a:pt x="137" y="607"/>
                  </a:lnTo>
                  <a:lnTo>
                    <a:pt x="137" y="607"/>
                  </a:lnTo>
                  <a:lnTo>
                    <a:pt x="137" y="608"/>
                  </a:lnTo>
                  <a:lnTo>
                    <a:pt x="137" y="609"/>
                  </a:lnTo>
                  <a:lnTo>
                    <a:pt x="141" y="605"/>
                  </a:lnTo>
                  <a:lnTo>
                    <a:pt x="147" y="602"/>
                  </a:lnTo>
                  <a:lnTo>
                    <a:pt x="147" y="599"/>
                  </a:lnTo>
                  <a:lnTo>
                    <a:pt x="148" y="596"/>
                  </a:lnTo>
                  <a:lnTo>
                    <a:pt x="148" y="595"/>
                  </a:lnTo>
                  <a:lnTo>
                    <a:pt x="148" y="596"/>
                  </a:lnTo>
                  <a:lnTo>
                    <a:pt x="148" y="598"/>
                  </a:lnTo>
                  <a:lnTo>
                    <a:pt x="150" y="600"/>
                  </a:lnTo>
                  <a:lnTo>
                    <a:pt x="150" y="599"/>
                  </a:lnTo>
                  <a:lnTo>
                    <a:pt x="151" y="598"/>
                  </a:lnTo>
                  <a:lnTo>
                    <a:pt x="151" y="596"/>
                  </a:lnTo>
                  <a:lnTo>
                    <a:pt x="151" y="595"/>
                  </a:lnTo>
                  <a:lnTo>
                    <a:pt x="152" y="596"/>
                  </a:lnTo>
                  <a:lnTo>
                    <a:pt x="152" y="598"/>
                  </a:lnTo>
                  <a:lnTo>
                    <a:pt x="152" y="598"/>
                  </a:lnTo>
                  <a:lnTo>
                    <a:pt x="153" y="595"/>
                  </a:lnTo>
                  <a:lnTo>
                    <a:pt x="153" y="593"/>
                  </a:lnTo>
                  <a:lnTo>
                    <a:pt x="155" y="593"/>
                  </a:lnTo>
                  <a:lnTo>
                    <a:pt x="155" y="593"/>
                  </a:lnTo>
                  <a:lnTo>
                    <a:pt x="155" y="594"/>
                  </a:lnTo>
                  <a:lnTo>
                    <a:pt x="156" y="593"/>
                  </a:lnTo>
                  <a:lnTo>
                    <a:pt x="156" y="593"/>
                  </a:lnTo>
                  <a:lnTo>
                    <a:pt x="156" y="593"/>
                  </a:lnTo>
                  <a:lnTo>
                    <a:pt x="157" y="595"/>
                  </a:lnTo>
                  <a:lnTo>
                    <a:pt x="160" y="594"/>
                  </a:lnTo>
                  <a:lnTo>
                    <a:pt x="160" y="593"/>
                  </a:lnTo>
                  <a:lnTo>
                    <a:pt x="161" y="593"/>
                  </a:lnTo>
                  <a:lnTo>
                    <a:pt x="161" y="593"/>
                  </a:lnTo>
                  <a:lnTo>
                    <a:pt x="162" y="590"/>
                  </a:lnTo>
                  <a:lnTo>
                    <a:pt x="162" y="589"/>
                  </a:lnTo>
                  <a:lnTo>
                    <a:pt x="164" y="587"/>
                  </a:lnTo>
                  <a:lnTo>
                    <a:pt x="164" y="589"/>
                  </a:lnTo>
                  <a:lnTo>
                    <a:pt x="165" y="590"/>
                  </a:lnTo>
                  <a:lnTo>
                    <a:pt x="165" y="590"/>
                  </a:lnTo>
                  <a:lnTo>
                    <a:pt x="166" y="587"/>
                  </a:lnTo>
                  <a:lnTo>
                    <a:pt x="168" y="586"/>
                  </a:lnTo>
                  <a:lnTo>
                    <a:pt x="168" y="585"/>
                  </a:lnTo>
                  <a:lnTo>
                    <a:pt x="169" y="587"/>
                  </a:lnTo>
                  <a:lnTo>
                    <a:pt x="169" y="587"/>
                  </a:lnTo>
                  <a:lnTo>
                    <a:pt x="169" y="587"/>
                  </a:lnTo>
                  <a:lnTo>
                    <a:pt x="169" y="585"/>
                  </a:lnTo>
                  <a:lnTo>
                    <a:pt x="170" y="584"/>
                  </a:lnTo>
                  <a:lnTo>
                    <a:pt x="170" y="582"/>
                  </a:lnTo>
                  <a:lnTo>
                    <a:pt x="171" y="582"/>
                  </a:lnTo>
                  <a:lnTo>
                    <a:pt x="171" y="582"/>
                  </a:lnTo>
                  <a:lnTo>
                    <a:pt x="171" y="584"/>
                  </a:lnTo>
                  <a:lnTo>
                    <a:pt x="173" y="585"/>
                  </a:lnTo>
                  <a:lnTo>
                    <a:pt x="173" y="585"/>
                  </a:lnTo>
                  <a:lnTo>
                    <a:pt x="173" y="581"/>
                  </a:lnTo>
                  <a:lnTo>
                    <a:pt x="173" y="578"/>
                  </a:lnTo>
                  <a:lnTo>
                    <a:pt x="174" y="577"/>
                  </a:lnTo>
                  <a:lnTo>
                    <a:pt x="174" y="576"/>
                  </a:lnTo>
                  <a:lnTo>
                    <a:pt x="174" y="576"/>
                  </a:lnTo>
                  <a:lnTo>
                    <a:pt x="175" y="578"/>
                  </a:lnTo>
                  <a:lnTo>
                    <a:pt x="175" y="581"/>
                  </a:lnTo>
                  <a:lnTo>
                    <a:pt x="177" y="578"/>
                  </a:lnTo>
                  <a:lnTo>
                    <a:pt x="177" y="578"/>
                  </a:lnTo>
                  <a:lnTo>
                    <a:pt x="177" y="577"/>
                  </a:lnTo>
                  <a:lnTo>
                    <a:pt x="178" y="578"/>
                  </a:lnTo>
                  <a:lnTo>
                    <a:pt x="178" y="580"/>
                  </a:lnTo>
                  <a:lnTo>
                    <a:pt x="178" y="578"/>
                  </a:lnTo>
                  <a:lnTo>
                    <a:pt x="178" y="574"/>
                  </a:lnTo>
                  <a:lnTo>
                    <a:pt x="179" y="572"/>
                  </a:lnTo>
                  <a:lnTo>
                    <a:pt x="179" y="569"/>
                  </a:lnTo>
                  <a:lnTo>
                    <a:pt x="180" y="568"/>
                  </a:lnTo>
                  <a:lnTo>
                    <a:pt x="180" y="569"/>
                  </a:lnTo>
                  <a:lnTo>
                    <a:pt x="180" y="571"/>
                  </a:lnTo>
                  <a:lnTo>
                    <a:pt x="182" y="574"/>
                  </a:lnTo>
                  <a:lnTo>
                    <a:pt x="183" y="569"/>
                  </a:lnTo>
                  <a:lnTo>
                    <a:pt x="183" y="564"/>
                  </a:lnTo>
                  <a:lnTo>
                    <a:pt x="183" y="564"/>
                  </a:lnTo>
                  <a:lnTo>
                    <a:pt x="183" y="564"/>
                  </a:lnTo>
                  <a:lnTo>
                    <a:pt x="183" y="563"/>
                  </a:lnTo>
                  <a:lnTo>
                    <a:pt x="182" y="555"/>
                  </a:lnTo>
                  <a:lnTo>
                    <a:pt x="180" y="547"/>
                  </a:lnTo>
                  <a:lnTo>
                    <a:pt x="179" y="540"/>
                  </a:lnTo>
                  <a:lnTo>
                    <a:pt x="178" y="533"/>
                  </a:lnTo>
                  <a:lnTo>
                    <a:pt x="175" y="524"/>
                  </a:lnTo>
                  <a:lnTo>
                    <a:pt x="173" y="515"/>
                  </a:lnTo>
                  <a:lnTo>
                    <a:pt x="171" y="506"/>
                  </a:lnTo>
                  <a:lnTo>
                    <a:pt x="171" y="511"/>
                  </a:lnTo>
                  <a:lnTo>
                    <a:pt x="171" y="516"/>
                  </a:lnTo>
                  <a:lnTo>
                    <a:pt x="173" y="520"/>
                  </a:lnTo>
                  <a:lnTo>
                    <a:pt x="173" y="522"/>
                  </a:lnTo>
                  <a:lnTo>
                    <a:pt x="173" y="523"/>
                  </a:lnTo>
                  <a:lnTo>
                    <a:pt x="171" y="520"/>
                  </a:lnTo>
                  <a:lnTo>
                    <a:pt x="169" y="513"/>
                  </a:lnTo>
                  <a:lnTo>
                    <a:pt x="166" y="502"/>
                  </a:lnTo>
                  <a:lnTo>
                    <a:pt x="168" y="505"/>
                  </a:lnTo>
                  <a:lnTo>
                    <a:pt x="168" y="507"/>
                  </a:lnTo>
                  <a:lnTo>
                    <a:pt x="168" y="507"/>
                  </a:lnTo>
                  <a:lnTo>
                    <a:pt x="166" y="505"/>
                  </a:lnTo>
                  <a:lnTo>
                    <a:pt x="164" y="498"/>
                  </a:lnTo>
                  <a:lnTo>
                    <a:pt x="161" y="488"/>
                  </a:lnTo>
                  <a:lnTo>
                    <a:pt x="159" y="475"/>
                  </a:lnTo>
                  <a:lnTo>
                    <a:pt x="157" y="465"/>
                  </a:lnTo>
                  <a:lnTo>
                    <a:pt x="155" y="462"/>
                  </a:lnTo>
                  <a:lnTo>
                    <a:pt x="156" y="470"/>
                  </a:lnTo>
                  <a:lnTo>
                    <a:pt x="157" y="478"/>
                  </a:lnTo>
                  <a:lnTo>
                    <a:pt x="157" y="483"/>
                  </a:lnTo>
                  <a:lnTo>
                    <a:pt x="157" y="487"/>
                  </a:lnTo>
                  <a:lnTo>
                    <a:pt x="159" y="489"/>
                  </a:lnTo>
                  <a:lnTo>
                    <a:pt x="159" y="489"/>
                  </a:lnTo>
                  <a:lnTo>
                    <a:pt x="157" y="489"/>
                  </a:lnTo>
                  <a:lnTo>
                    <a:pt x="157" y="487"/>
                  </a:lnTo>
                  <a:lnTo>
                    <a:pt x="156" y="484"/>
                  </a:lnTo>
                  <a:lnTo>
                    <a:pt x="155" y="480"/>
                  </a:lnTo>
                  <a:lnTo>
                    <a:pt x="153" y="476"/>
                  </a:lnTo>
                  <a:lnTo>
                    <a:pt x="152" y="471"/>
                  </a:lnTo>
                  <a:lnTo>
                    <a:pt x="151" y="466"/>
                  </a:lnTo>
                  <a:lnTo>
                    <a:pt x="150" y="460"/>
                  </a:lnTo>
                  <a:lnTo>
                    <a:pt x="150" y="458"/>
                  </a:lnTo>
                  <a:lnTo>
                    <a:pt x="148" y="456"/>
                  </a:lnTo>
                  <a:lnTo>
                    <a:pt x="147" y="451"/>
                  </a:lnTo>
                  <a:lnTo>
                    <a:pt x="147" y="458"/>
                  </a:lnTo>
                  <a:lnTo>
                    <a:pt x="148" y="465"/>
                  </a:lnTo>
                  <a:lnTo>
                    <a:pt x="148" y="471"/>
                  </a:lnTo>
                  <a:lnTo>
                    <a:pt x="150" y="475"/>
                  </a:lnTo>
                  <a:lnTo>
                    <a:pt x="150" y="478"/>
                  </a:lnTo>
                  <a:lnTo>
                    <a:pt x="150" y="480"/>
                  </a:lnTo>
                  <a:lnTo>
                    <a:pt x="150" y="480"/>
                  </a:lnTo>
                  <a:lnTo>
                    <a:pt x="150" y="480"/>
                  </a:lnTo>
                  <a:lnTo>
                    <a:pt x="148" y="478"/>
                  </a:lnTo>
                  <a:lnTo>
                    <a:pt x="148" y="475"/>
                  </a:lnTo>
                  <a:lnTo>
                    <a:pt x="147" y="471"/>
                  </a:lnTo>
                  <a:lnTo>
                    <a:pt x="146" y="466"/>
                  </a:lnTo>
                  <a:lnTo>
                    <a:pt x="144" y="461"/>
                  </a:lnTo>
                  <a:lnTo>
                    <a:pt x="144" y="461"/>
                  </a:lnTo>
                  <a:lnTo>
                    <a:pt x="141" y="451"/>
                  </a:lnTo>
                  <a:lnTo>
                    <a:pt x="137" y="438"/>
                  </a:lnTo>
                  <a:lnTo>
                    <a:pt x="138" y="447"/>
                  </a:lnTo>
                  <a:lnTo>
                    <a:pt x="138" y="453"/>
                  </a:lnTo>
                  <a:lnTo>
                    <a:pt x="139" y="458"/>
                  </a:lnTo>
                  <a:lnTo>
                    <a:pt x="139" y="462"/>
                  </a:lnTo>
                  <a:lnTo>
                    <a:pt x="141" y="466"/>
                  </a:lnTo>
                  <a:lnTo>
                    <a:pt x="141" y="467"/>
                  </a:lnTo>
                  <a:lnTo>
                    <a:pt x="141" y="469"/>
                  </a:lnTo>
                  <a:lnTo>
                    <a:pt x="141" y="467"/>
                  </a:lnTo>
                  <a:lnTo>
                    <a:pt x="139" y="466"/>
                  </a:lnTo>
                  <a:lnTo>
                    <a:pt x="139" y="463"/>
                  </a:lnTo>
                  <a:lnTo>
                    <a:pt x="138" y="458"/>
                  </a:lnTo>
                  <a:lnTo>
                    <a:pt x="137" y="453"/>
                  </a:lnTo>
                  <a:lnTo>
                    <a:pt x="134" y="441"/>
                  </a:lnTo>
                  <a:lnTo>
                    <a:pt x="133" y="427"/>
                  </a:lnTo>
                  <a:lnTo>
                    <a:pt x="133" y="425"/>
                  </a:lnTo>
                  <a:lnTo>
                    <a:pt x="131" y="421"/>
                  </a:lnTo>
                  <a:lnTo>
                    <a:pt x="130" y="416"/>
                  </a:lnTo>
                  <a:lnTo>
                    <a:pt x="129" y="409"/>
                  </a:lnTo>
                  <a:lnTo>
                    <a:pt x="129" y="407"/>
                  </a:lnTo>
                  <a:lnTo>
                    <a:pt x="129" y="407"/>
                  </a:lnTo>
                  <a:lnTo>
                    <a:pt x="129" y="414"/>
                  </a:lnTo>
                  <a:lnTo>
                    <a:pt x="128" y="422"/>
                  </a:lnTo>
                  <a:lnTo>
                    <a:pt x="128" y="422"/>
                  </a:lnTo>
                  <a:lnTo>
                    <a:pt x="129" y="423"/>
                  </a:lnTo>
                  <a:lnTo>
                    <a:pt x="129" y="425"/>
                  </a:lnTo>
                  <a:lnTo>
                    <a:pt x="128" y="423"/>
                  </a:lnTo>
                  <a:lnTo>
                    <a:pt x="128" y="427"/>
                  </a:lnTo>
                  <a:lnTo>
                    <a:pt x="129" y="430"/>
                  </a:lnTo>
                  <a:lnTo>
                    <a:pt x="129" y="431"/>
                  </a:lnTo>
                  <a:lnTo>
                    <a:pt x="129" y="432"/>
                  </a:lnTo>
                  <a:lnTo>
                    <a:pt x="130" y="432"/>
                  </a:lnTo>
                  <a:lnTo>
                    <a:pt x="129" y="432"/>
                  </a:lnTo>
                  <a:lnTo>
                    <a:pt x="129" y="432"/>
                  </a:lnTo>
                  <a:lnTo>
                    <a:pt x="128" y="431"/>
                  </a:lnTo>
                  <a:lnTo>
                    <a:pt x="126" y="427"/>
                  </a:lnTo>
                  <a:lnTo>
                    <a:pt x="126" y="422"/>
                  </a:lnTo>
                  <a:lnTo>
                    <a:pt x="126" y="418"/>
                  </a:lnTo>
                  <a:lnTo>
                    <a:pt x="129" y="409"/>
                  </a:lnTo>
                  <a:lnTo>
                    <a:pt x="130" y="400"/>
                  </a:lnTo>
                  <a:lnTo>
                    <a:pt x="131" y="396"/>
                  </a:lnTo>
                  <a:lnTo>
                    <a:pt x="131" y="392"/>
                  </a:lnTo>
                  <a:lnTo>
                    <a:pt x="131" y="391"/>
                  </a:lnTo>
                  <a:lnTo>
                    <a:pt x="131" y="369"/>
                  </a:lnTo>
                  <a:lnTo>
                    <a:pt x="131" y="349"/>
                  </a:lnTo>
                  <a:lnTo>
                    <a:pt x="130" y="342"/>
                  </a:lnTo>
                  <a:lnTo>
                    <a:pt x="129" y="337"/>
                  </a:lnTo>
                  <a:lnTo>
                    <a:pt x="134" y="310"/>
                  </a:lnTo>
                  <a:lnTo>
                    <a:pt x="135" y="307"/>
                  </a:lnTo>
                  <a:lnTo>
                    <a:pt x="153" y="259"/>
                  </a:lnTo>
                  <a:lnTo>
                    <a:pt x="156" y="253"/>
                  </a:lnTo>
                  <a:lnTo>
                    <a:pt x="161" y="252"/>
                  </a:lnTo>
                  <a:lnTo>
                    <a:pt x="166" y="248"/>
                  </a:lnTo>
                  <a:lnTo>
                    <a:pt x="170" y="243"/>
                  </a:lnTo>
                  <a:lnTo>
                    <a:pt x="175" y="234"/>
                  </a:lnTo>
                  <a:lnTo>
                    <a:pt x="187" y="219"/>
                  </a:lnTo>
                  <a:lnTo>
                    <a:pt x="197" y="205"/>
                  </a:lnTo>
                  <a:lnTo>
                    <a:pt x="201" y="200"/>
                  </a:lnTo>
                  <a:lnTo>
                    <a:pt x="209" y="187"/>
                  </a:lnTo>
                  <a:lnTo>
                    <a:pt x="208" y="188"/>
                  </a:lnTo>
                  <a:lnTo>
                    <a:pt x="210" y="187"/>
                  </a:lnTo>
                  <a:lnTo>
                    <a:pt x="217" y="177"/>
                  </a:lnTo>
                  <a:lnTo>
                    <a:pt x="213" y="179"/>
                  </a:lnTo>
                  <a:lnTo>
                    <a:pt x="206" y="187"/>
                  </a:lnTo>
                  <a:lnTo>
                    <a:pt x="200" y="195"/>
                  </a:lnTo>
                  <a:lnTo>
                    <a:pt x="202" y="185"/>
                  </a:lnTo>
                  <a:lnTo>
                    <a:pt x="202" y="185"/>
                  </a:lnTo>
                  <a:lnTo>
                    <a:pt x="204" y="181"/>
                  </a:lnTo>
                  <a:lnTo>
                    <a:pt x="199" y="185"/>
                  </a:lnTo>
                  <a:lnTo>
                    <a:pt x="193" y="191"/>
                  </a:lnTo>
                  <a:lnTo>
                    <a:pt x="195" y="186"/>
                  </a:lnTo>
                  <a:lnTo>
                    <a:pt x="193" y="187"/>
                  </a:lnTo>
                  <a:lnTo>
                    <a:pt x="195" y="182"/>
                  </a:lnTo>
                  <a:lnTo>
                    <a:pt x="193" y="182"/>
                  </a:lnTo>
                  <a:lnTo>
                    <a:pt x="191" y="187"/>
                  </a:lnTo>
                  <a:lnTo>
                    <a:pt x="187" y="192"/>
                  </a:lnTo>
                  <a:lnTo>
                    <a:pt x="183" y="196"/>
                  </a:lnTo>
                  <a:lnTo>
                    <a:pt x="186" y="186"/>
                  </a:lnTo>
                  <a:lnTo>
                    <a:pt x="189" y="174"/>
                  </a:lnTo>
                  <a:lnTo>
                    <a:pt x="188" y="175"/>
                  </a:lnTo>
                  <a:lnTo>
                    <a:pt x="183" y="185"/>
                  </a:lnTo>
                  <a:lnTo>
                    <a:pt x="178" y="194"/>
                  </a:lnTo>
                  <a:lnTo>
                    <a:pt x="178" y="187"/>
                  </a:lnTo>
                  <a:lnTo>
                    <a:pt x="179" y="182"/>
                  </a:lnTo>
                  <a:lnTo>
                    <a:pt x="177" y="185"/>
                  </a:lnTo>
                  <a:lnTo>
                    <a:pt x="178" y="182"/>
                  </a:lnTo>
                  <a:lnTo>
                    <a:pt x="177" y="182"/>
                  </a:lnTo>
                  <a:lnTo>
                    <a:pt x="174" y="186"/>
                  </a:lnTo>
                  <a:lnTo>
                    <a:pt x="171" y="191"/>
                  </a:lnTo>
                  <a:lnTo>
                    <a:pt x="170" y="195"/>
                  </a:lnTo>
                  <a:lnTo>
                    <a:pt x="170" y="190"/>
                  </a:lnTo>
                  <a:lnTo>
                    <a:pt x="171" y="185"/>
                  </a:lnTo>
                  <a:lnTo>
                    <a:pt x="171" y="185"/>
                  </a:lnTo>
                  <a:lnTo>
                    <a:pt x="170" y="187"/>
                  </a:lnTo>
                  <a:lnTo>
                    <a:pt x="170" y="185"/>
                  </a:lnTo>
                  <a:lnTo>
                    <a:pt x="168" y="186"/>
                  </a:lnTo>
                  <a:lnTo>
                    <a:pt x="165" y="192"/>
                  </a:lnTo>
                  <a:lnTo>
                    <a:pt x="161" y="199"/>
                  </a:lnTo>
                  <a:lnTo>
                    <a:pt x="161" y="188"/>
                  </a:lnTo>
                  <a:lnTo>
                    <a:pt x="159" y="192"/>
                  </a:lnTo>
                  <a:lnTo>
                    <a:pt x="159" y="190"/>
                  </a:lnTo>
                  <a:lnTo>
                    <a:pt x="157" y="195"/>
                  </a:lnTo>
                  <a:lnTo>
                    <a:pt x="155" y="199"/>
                  </a:lnTo>
                  <a:lnTo>
                    <a:pt x="153" y="190"/>
                  </a:lnTo>
                  <a:lnTo>
                    <a:pt x="153" y="190"/>
                  </a:lnTo>
                  <a:lnTo>
                    <a:pt x="152" y="187"/>
                  </a:lnTo>
                  <a:lnTo>
                    <a:pt x="150" y="191"/>
                  </a:lnTo>
                  <a:lnTo>
                    <a:pt x="151" y="194"/>
                  </a:lnTo>
                  <a:lnTo>
                    <a:pt x="150" y="192"/>
                  </a:lnTo>
                  <a:lnTo>
                    <a:pt x="148" y="195"/>
                  </a:lnTo>
                  <a:lnTo>
                    <a:pt x="148" y="195"/>
                  </a:lnTo>
                  <a:lnTo>
                    <a:pt x="148" y="203"/>
                  </a:lnTo>
                  <a:lnTo>
                    <a:pt x="148" y="204"/>
                  </a:lnTo>
                  <a:lnTo>
                    <a:pt x="148" y="204"/>
                  </a:lnTo>
                  <a:lnTo>
                    <a:pt x="150" y="216"/>
                  </a:lnTo>
                  <a:lnTo>
                    <a:pt x="148" y="227"/>
                  </a:lnTo>
                  <a:lnTo>
                    <a:pt x="148" y="218"/>
                  </a:lnTo>
                  <a:lnTo>
                    <a:pt x="147" y="232"/>
                  </a:lnTo>
                  <a:lnTo>
                    <a:pt x="144" y="246"/>
                  </a:lnTo>
                  <a:lnTo>
                    <a:pt x="141" y="258"/>
                  </a:lnTo>
                  <a:lnTo>
                    <a:pt x="139" y="250"/>
                  </a:lnTo>
                  <a:lnTo>
                    <a:pt x="139" y="243"/>
                  </a:lnTo>
                  <a:lnTo>
                    <a:pt x="135" y="262"/>
                  </a:lnTo>
                  <a:lnTo>
                    <a:pt x="133" y="281"/>
                  </a:lnTo>
                  <a:lnTo>
                    <a:pt x="128" y="299"/>
                  </a:lnTo>
                  <a:lnTo>
                    <a:pt x="126" y="314"/>
                  </a:lnTo>
                  <a:lnTo>
                    <a:pt x="121" y="328"/>
                  </a:lnTo>
                  <a:lnTo>
                    <a:pt x="113" y="341"/>
                  </a:lnTo>
                  <a:lnTo>
                    <a:pt x="112" y="343"/>
                  </a:lnTo>
                  <a:lnTo>
                    <a:pt x="110" y="347"/>
                  </a:lnTo>
                  <a:lnTo>
                    <a:pt x="110" y="345"/>
                  </a:lnTo>
                  <a:lnTo>
                    <a:pt x="104" y="350"/>
                  </a:lnTo>
                  <a:lnTo>
                    <a:pt x="102" y="356"/>
                  </a:lnTo>
                  <a:lnTo>
                    <a:pt x="101" y="359"/>
                  </a:lnTo>
                  <a:lnTo>
                    <a:pt x="101" y="358"/>
                  </a:lnTo>
                  <a:lnTo>
                    <a:pt x="97" y="364"/>
                  </a:lnTo>
                  <a:lnTo>
                    <a:pt x="93" y="369"/>
                  </a:lnTo>
                  <a:lnTo>
                    <a:pt x="88" y="372"/>
                  </a:lnTo>
                  <a:lnTo>
                    <a:pt x="79" y="383"/>
                  </a:lnTo>
                  <a:lnTo>
                    <a:pt x="70" y="391"/>
                  </a:lnTo>
                  <a:lnTo>
                    <a:pt x="62" y="396"/>
                  </a:lnTo>
                  <a:lnTo>
                    <a:pt x="54" y="396"/>
                  </a:lnTo>
                  <a:lnTo>
                    <a:pt x="50" y="396"/>
                  </a:lnTo>
                  <a:lnTo>
                    <a:pt x="48" y="398"/>
                  </a:lnTo>
                  <a:lnTo>
                    <a:pt x="46" y="398"/>
                  </a:lnTo>
                  <a:lnTo>
                    <a:pt x="45" y="396"/>
                  </a:lnTo>
                  <a:lnTo>
                    <a:pt x="40" y="395"/>
                  </a:lnTo>
                  <a:lnTo>
                    <a:pt x="35" y="394"/>
                  </a:lnTo>
                  <a:lnTo>
                    <a:pt x="31" y="392"/>
                  </a:lnTo>
                  <a:lnTo>
                    <a:pt x="26" y="391"/>
                  </a:lnTo>
                  <a:lnTo>
                    <a:pt x="22" y="390"/>
                  </a:lnTo>
                  <a:lnTo>
                    <a:pt x="23" y="390"/>
                  </a:lnTo>
                  <a:lnTo>
                    <a:pt x="21" y="389"/>
                  </a:lnTo>
                  <a:lnTo>
                    <a:pt x="19" y="387"/>
                  </a:lnTo>
                  <a:lnTo>
                    <a:pt x="18" y="386"/>
                  </a:lnTo>
                  <a:lnTo>
                    <a:pt x="19" y="386"/>
                  </a:lnTo>
                  <a:lnTo>
                    <a:pt x="18" y="386"/>
                  </a:lnTo>
                  <a:lnTo>
                    <a:pt x="18" y="386"/>
                  </a:lnTo>
                  <a:lnTo>
                    <a:pt x="18" y="386"/>
                  </a:lnTo>
                  <a:lnTo>
                    <a:pt x="18" y="385"/>
                  </a:lnTo>
                  <a:lnTo>
                    <a:pt x="18" y="386"/>
                  </a:lnTo>
                  <a:lnTo>
                    <a:pt x="17" y="385"/>
                  </a:lnTo>
                  <a:lnTo>
                    <a:pt x="17" y="385"/>
                  </a:lnTo>
                  <a:lnTo>
                    <a:pt x="17" y="385"/>
                  </a:lnTo>
                  <a:lnTo>
                    <a:pt x="17" y="383"/>
                  </a:lnTo>
                  <a:lnTo>
                    <a:pt x="15" y="382"/>
                  </a:lnTo>
                  <a:lnTo>
                    <a:pt x="19" y="381"/>
                  </a:lnTo>
                  <a:lnTo>
                    <a:pt x="19" y="381"/>
                  </a:lnTo>
                  <a:lnTo>
                    <a:pt x="19" y="381"/>
                  </a:lnTo>
                  <a:lnTo>
                    <a:pt x="22" y="380"/>
                  </a:lnTo>
                  <a:lnTo>
                    <a:pt x="22" y="381"/>
                  </a:lnTo>
                  <a:lnTo>
                    <a:pt x="28" y="381"/>
                  </a:lnTo>
                  <a:lnTo>
                    <a:pt x="15" y="374"/>
                  </a:lnTo>
                  <a:lnTo>
                    <a:pt x="6" y="369"/>
                  </a:lnTo>
                  <a:lnTo>
                    <a:pt x="0" y="367"/>
                  </a:lnTo>
                  <a:lnTo>
                    <a:pt x="4" y="359"/>
                  </a:lnTo>
                  <a:lnTo>
                    <a:pt x="10" y="356"/>
                  </a:lnTo>
                  <a:lnTo>
                    <a:pt x="19" y="355"/>
                  </a:lnTo>
                  <a:lnTo>
                    <a:pt x="28" y="355"/>
                  </a:lnTo>
                  <a:lnTo>
                    <a:pt x="36" y="354"/>
                  </a:lnTo>
                  <a:lnTo>
                    <a:pt x="41" y="350"/>
                  </a:lnTo>
                  <a:lnTo>
                    <a:pt x="36" y="350"/>
                  </a:lnTo>
                  <a:lnTo>
                    <a:pt x="32" y="350"/>
                  </a:lnTo>
                  <a:lnTo>
                    <a:pt x="30" y="349"/>
                  </a:lnTo>
                  <a:lnTo>
                    <a:pt x="27" y="346"/>
                  </a:lnTo>
                  <a:lnTo>
                    <a:pt x="24" y="345"/>
                  </a:lnTo>
                  <a:lnTo>
                    <a:pt x="22" y="343"/>
                  </a:lnTo>
                  <a:lnTo>
                    <a:pt x="22" y="342"/>
                  </a:lnTo>
                  <a:lnTo>
                    <a:pt x="22" y="339"/>
                  </a:lnTo>
                  <a:lnTo>
                    <a:pt x="23" y="337"/>
                  </a:lnTo>
                  <a:lnTo>
                    <a:pt x="24" y="334"/>
                  </a:lnTo>
                  <a:lnTo>
                    <a:pt x="28" y="332"/>
                  </a:lnTo>
                  <a:lnTo>
                    <a:pt x="31" y="333"/>
                  </a:lnTo>
                  <a:lnTo>
                    <a:pt x="34" y="334"/>
                  </a:lnTo>
                  <a:lnTo>
                    <a:pt x="37" y="336"/>
                  </a:lnTo>
                  <a:lnTo>
                    <a:pt x="41" y="337"/>
                  </a:lnTo>
                  <a:lnTo>
                    <a:pt x="45" y="333"/>
                  </a:lnTo>
                  <a:lnTo>
                    <a:pt x="53" y="329"/>
                  </a:lnTo>
                  <a:lnTo>
                    <a:pt x="59" y="325"/>
                  </a:lnTo>
                  <a:lnTo>
                    <a:pt x="63" y="321"/>
                  </a:lnTo>
                  <a:lnTo>
                    <a:pt x="68" y="312"/>
                  </a:lnTo>
                  <a:lnTo>
                    <a:pt x="73" y="303"/>
                  </a:lnTo>
                  <a:lnTo>
                    <a:pt x="84" y="274"/>
                  </a:lnTo>
                  <a:lnTo>
                    <a:pt x="83" y="258"/>
                  </a:lnTo>
                  <a:lnTo>
                    <a:pt x="76" y="270"/>
                  </a:lnTo>
                  <a:lnTo>
                    <a:pt x="70" y="279"/>
                  </a:lnTo>
                  <a:lnTo>
                    <a:pt x="70" y="279"/>
                  </a:lnTo>
                  <a:lnTo>
                    <a:pt x="70" y="279"/>
                  </a:lnTo>
                  <a:lnTo>
                    <a:pt x="70" y="280"/>
                  </a:lnTo>
                  <a:lnTo>
                    <a:pt x="70" y="277"/>
                  </a:lnTo>
                  <a:lnTo>
                    <a:pt x="71" y="254"/>
                  </a:lnTo>
                  <a:lnTo>
                    <a:pt x="77" y="232"/>
                  </a:lnTo>
                  <a:lnTo>
                    <a:pt x="73" y="239"/>
                  </a:lnTo>
                  <a:lnTo>
                    <a:pt x="68" y="245"/>
                  </a:lnTo>
                  <a:lnTo>
                    <a:pt x="64" y="252"/>
                  </a:lnTo>
                  <a:lnTo>
                    <a:pt x="64" y="235"/>
                  </a:lnTo>
                  <a:lnTo>
                    <a:pt x="70" y="219"/>
                  </a:lnTo>
                  <a:lnTo>
                    <a:pt x="66" y="225"/>
                  </a:lnTo>
                  <a:lnTo>
                    <a:pt x="62" y="230"/>
                  </a:lnTo>
                  <a:lnTo>
                    <a:pt x="58" y="235"/>
                  </a:lnTo>
                  <a:lnTo>
                    <a:pt x="59" y="221"/>
                  </a:lnTo>
                  <a:lnTo>
                    <a:pt x="63" y="208"/>
                  </a:lnTo>
                  <a:lnTo>
                    <a:pt x="68" y="195"/>
                  </a:lnTo>
                  <a:lnTo>
                    <a:pt x="64" y="199"/>
                  </a:lnTo>
                  <a:lnTo>
                    <a:pt x="62" y="204"/>
                  </a:lnTo>
                  <a:lnTo>
                    <a:pt x="58" y="209"/>
                  </a:lnTo>
                  <a:lnTo>
                    <a:pt x="61" y="191"/>
                  </a:lnTo>
                  <a:lnTo>
                    <a:pt x="67" y="174"/>
                  </a:lnTo>
                  <a:lnTo>
                    <a:pt x="67" y="170"/>
                  </a:lnTo>
                  <a:lnTo>
                    <a:pt x="67" y="170"/>
                  </a:lnTo>
                  <a:lnTo>
                    <a:pt x="67" y="170"/>
                  </a:lnTo>
                  <a:lnTo>
                    <a:pt x="67" y="170"/>
                  </a:lnTo>
                  <a:lnTo>
                    <a:pt x="67" y="157"/>
                  </a:lnTo>
                  <a:lnTo>
                    <a:pt x="66" y="159"/>
                  </a:lnTo>
                  <a:lnTo>
                    <a:pt x="67" y="156"/>
                  </a:lnTo>
                  <a:lnTo>
                    <a:pt x="68" y="150"/>
                  </a:lnTo>
                  <a:lnTo>
                    <a:pt x="70" y="143"/>
                  </a:lnTo>
                  <a:lnTo>
                    <a:pt x="66" y="150"/>
                  </a:lnTo>
                  <a:lnTo>
                    <a:pt x="72" y="134"/>
                  </a:lnTo>
                  <a:lnTo>
                    <a:pt x="66" y="143"/>
                  </a:lnTo>
                  <a:lnTo>
                    <a:pt x="66" y="139"/>
                  </a:lnTo>
                  <a:lnTo>
                    <a:pt x="67" y="135"/>
                  </a:lnTo>
                  <a:lnTo>
                    <a:pt x="58" y="151"/>
                  </a:lnTo>
                  <a:lnTo>
                    <a:pt x="59" y="147"/>
                  </a:lnTo>
                  <a:lnTo>
                    <a:pt x="58" y="148"/>
                  </a:lnTo>
                  <a:lnTo>
                    <a:pt x="59" y="146"/>
                  </a:lnTo>
                  <a:lnTo>
                    <a:pt x="62" y="139"/>
                  </a:lnTo>
                  <a:lnTo>
                    <a:pt x="64" y="135"/>
                  </a:lnTo>
                  <a:lnTo>
                    <a:pt x="68" y="129"/>
                  </a:lnTo>
                  <a:lnTo>
                    <a:pt x="70" y="128"/>
                  </a:lnTo>
                  <a:lnTo>
                    <a:pt x="71" y="125"/>
                  </a:lnTo>
                  <a:lnTo>
                    <a:pt x="73" y="124"/>
                  </a:lnTo>
                  <a:lnTo>
                    <a:pt x="76" y="119"/>
                  </a:lnTo>
                  <a:lnTo>
                    <a:pt x="77" y="117"/>
                  </a:lnTo>
                  <a:lnTo>
                    <a:pt x="77" y="117"/>
                  </a:lnTo>
                  <a:lnTo>
                    <a:pt x="75" y="119"/>
                  </a:lnTo>
                  <a:lnTo>
                    <a:pt x="62" y="130"/>
                  </a:lnTo>
                  <a:lnTo>
                    <a:pt x="64" y="126"/>
                  </a:lnTo>
                  <a:lnTo>
                    <a:pt x="67" y="123"/>
                  </a:lnTo>
                  <a:lnTo>
                    <a:pt x="72" y="119"/>
                  </a:lnTo>
                  <a:lnTo>
                    <a:pt x="73" y="115"/>
                  </a:lnTo>
                  <a:lnTo>
                    <a:pt x="77" y="111"/>
                  </a:lnTo>
                  <a:lnTo>
                    <a:pt x="81" y="107"/>
                  </a:lnTo>
                  <a:lnTo>
                    <a:pt x="86" y="103"/>
                  </a:lnTo>
                  <a:lnTo>
                    <a:pt x="89" y="101"/>
                  </a:lnTo>
                  <a:lnTo>
                    <a:pt x="90" y="99"/>
                  </a:lnTo>
                  <a:lnTo>
                    <a:pt x="92" y="98"/>
                  </a:lnTo>
                  <a:lnTo>
                    <a:pt x="93" y="97"/>
                  </a:lnTo>
                  <a:lnTo>
                    <a:pt x="94" y="95"/>
                  </a:lnTo>
                  <a:lnTo>
                    <a:pt x="95" y="94"/>
                  </a:lnTo>
                  <a:lnTo>
                    <a:pt x="95" y="94"/>
                  </a:lnTo>
                  <a:lnTo>
                    <a:pt x="94" y="95"/>
                  </a:lnTo>
                  <a:lnTo>
                    <a:pt x="71" y="116"/>
                  </a:lnTo>
                  <a:lnTo>
                    <a:pt x="73" y="108"/>
                  </a:lnTo>
                  <a:lnTo>
                    <a:pt x="80" y="103"/>
                  </a:lnTo>
                  <a:lnTo>
                    <a:pt x="88" y="98"/>
                  </a:lnTo>
                  <a:lnTo>
                    <a:pt x="95" y="93"/>
                  </a:lnTo>
                  <a:lnTo>
                    <a:pt x="95" y="93"/>
                  </a:lnTo>
                  <a:lnTo>
                    <a:pt x="102" y="88"/>
                  </a:lnTo>
                  <a:lnTo>
                    <a:pt x="107" y="82"/>
                  </a:lnTo>
                  <a:lnTo>
                    <a:pt x="107" y="84"/>
                  </a:lnTo>
                  <a:lnTo>
                    <a:pt x="106" y="86"/>
                  </a:lnTo>
                  <a:lnTo>
                    <a:pt x="103" y="88"/>
                  </a:lnTo>
                  <a:lnTo>
                    <a:pt x="113" y="84"/>
                  </a:lnTo>
                  <a:lnTo>
                    <a:pt x="124" y="79"/>
                  </a:lnTo>
                  <a:lnTo>
                    <a:pt x="126" y="79"/>
                  </a:lnTo>
                  <a:lnTo>
                    <a:pt x="129" y="77"/>
                  </a:lnTo>
                  <a:lnTo>
                    <a:pt x="126" y="79"/>
                  </a:lnTo>
                  <a:lnTo>
                    <a:pt x="128" y="79"/>
                  </a:lnTo>
                  <a:lnTo>
                    <a:pt x="125" y="79"/>
                  </a:lnTo>
                  <a:lnTo>
                    <a:pt x="125" y="79"/>
                  </a:lnTo>
                  <a:lnTo>
                    <a:pt x="128" y="80"/>
                  </a:lnTo>
                  <a:lnTo>
                    <a:pt x="131" y="76"/>
                  </a:lnTo>
                  <a:lnTo>
                    <a:pt x="135" y="72"/>
                  </a:lnTo>
                  <a:lnTo>
                    <a:pt x="139" y="70"/>
                  </a:lnTo>
                  <a:lnTo>
                    <a:pt x="137" y="73"/>
                  </a:lnTo>
                  <a:lnTo>
                    <a:pt x="134" y="77"/>
                  </a:lnTo>
                  <a:lnTo>
                    <a:pt x="130" y="81"/>
                  </a:lnTo>
                  <a:lnTo>
                    <a:pt x="131" y="81"/>
                  </a:lnTo>
                  <a:lnTo>
                    <a:pt x="125" y="88"/>
                  </a:lnTo>
                  <a:lnTo>
                    <a:pt x="129" y="86"/>
                  </a:lnTo>
                  <a:lnTo>
                    <a:pt x="137" y="77"/>
                  </a:lnTo>
                  <a:lnTo>
                    <a:pt x="137" y="81"/>
                  </a:lnTo>
                  <a:lnTo>
                    <a:pt x="135" y="84"/>
                  </a:lnTo>
                  <a:lnTo>
                    <a:pt x="143" y="81"/>
                  </a:lnTo>
                  <a:lnTo>
                    <a:pt x="151" y="79"/>
                  </a:lnTo>
                  <a:lnTo>
                    <a:pt x="134" y="85"/>
                  </a:lnTo>
                  <a:lnTo>
                    <a:pt x="134" y="85"/>
                  </a:lnTo>
                  <a:lnTo>
                    <a:pt x="141" y="84"/>
                  </a:lnTo>
                  <a:lnTo>
                    <a:pt x="148" y="82"/>
                  </a:lnTo>
                  <a:lnTo>
                    <a:pt x="148" y="81"/>
                  </a:lnTo>
                  <a:lnTo>
                    <a:pt x="152" y="77"/>
                  </a:lnTo>
                  <a:lnTo>
                    <a:pt x="148" y="82"/>
                  </a:lnTo>
                  <a:lnTo>
                    <a:pt x="151" y="81"/>
                  </a:lnTo>
                  <a:lnTo>
                    <a:pt x="153" y="79"/>
                  </a:lnTo>
                  <a:lnTo>
                    <a:pt x="152" y="81"/>
                  </a:lnTo>
                  <a:lnTo>
                    <a:pt x="153" y="81"/>
                  </a:lnTo>
                  <a:lnTo>
                    <a:pt x="159" y="77"/>
                  </a:lnTo>
                  <a:lnTo>
                    <a:pt x="155" y="82"/>
                  </a:lnTo>
                  <a:lnTo>
                    <a:pt x="156" y="81"/>
                  </a:lnTo>
                  <a:lnTo>
                    <a:pt x="156" y="85"/>
                  </a:lnTo>
                  <a:lnTo>
                    <a:pt x="164" y="80"/>
                  </a:lnTo>
                  <a:lnTo>
                    <a:pt x="165" y="77"/>
                  </a:lnTo>
                  <a:lnTo>
                    <a:pt x="166" y="76"/>
                  </a:lnTo>
                  <a:lnTo>
                    <a:pt x="165" y="80"/>
                  </a:lnTo>
                  <a:lnTo>
                    <a:pt x="169" y="77"/>
                  </a:lnTo>
                  <a:lnTo>
                    <a:pt x="173" y="76"/>
                  </a:lnTo>
                  <a:lnTo>
                    <a:pt x="166" y="81"/>
                  </a:lnTo>
                  <a:lnTo>
                    <a:pt x="161" y="86"/>
                  </a:lnTo>
                  <a:lnTo>
                    <a:pt x="161" y="88"/>
                  </a:lnTo>
                  <a:lnTo>
                    <a:pt x="161" y="86"/>
                  </a:lnTo>
                  <a:lnTo>
                    <a:pt x="159" y="90"/>
                  </a:lnTo>
                  <a:lnTo>
                    <a:pt x="160" y="90"/>
                  </a:lnTo>
                  <a:lnTo>
                    <a:pt x="161" y="88"/>
                  </a:lnTo>
                  <a:lnTo>
                    <a:pt x="160" y="90"/>
                  </a:lnTo>
                  <a:lnTo>
                    <a:pt x="165" y="88"/>
                  </a:lnTo>
                  <a:lnTo>
                    <a:pt x="169" y="84"/>
                  </a:lnTo>
                  <a:lnTo>
                    <a:pt x="173" y="79"/>
                  </a:lnTo>
                  <a:lnTo>
                    <a:pt x="177" y="75"/>
                  </a:lnTo>
                  <a:lnTo>
                    <a:pt x="168" y="88"/>
                  </a:lnTo>
                  <a:lnTo>
                    <a:pt x="177" y="84"/>
                  </a:lnTo>
                  <a:lnTo>
                    <a:pt x="186" y="80"/>
                  </a:lnTo>
                  <a:lnTo>
                    <a:pt x="193" y="72"/>
                  </a:lnTo>
                  <a:lnTo>
                    <a:pt x="186" y="80"/>
                  </a:lnTo>
                  <a:lnTo>
                    <a:pt x="193" y="77"/>
                  </a:lnTo>
                  <a:lnTo>
                    <a:pt x="200" y="75"/>
                  </a:lnTo>
                  <a:lnTo>
                    <a:pt x="199" y="77"/>
                  </a:lnTo>
                  <a:lnTo>
                    <a:pt x="196" y="79"/>
                  </a:lnTo>
                  <a:lnTo>
                    <a:pt x="193" y="80"/>
                  </a:lnTo>
                  <a:lnTo>
                    <a:pt x="189" y="81"/>
                  </a:lnTo>
                  <a:lnTo>
                    <a:pt x="188" y="82"/>
                  </a:lnTo>
                  <a:lnTo>
                    <a:pt x="187" y="84"/>
                  </a:lnTo>
                  <a:lnTo>
                    <a:pt x="191" y="84"/>
                  </a:lnTo>
                  <a:lnTo>
                    <a:pt x="195" y="82"/>
                  </a:lnTo>
                  <a:lnTo>
                    <a:pt x="201" y="77"/>
                  </a:lnTo>
                  <a:lnTo>
                    <a:pt x="209" y="72"/>
                  </a:lnTo>
                  <a:lnTo>
                    <a:pt x="196" y="82"/>
                  </a:lnTo>
                  <a:lnTo>
                    <a:pt x="204" y="82"/>
                  </a:lnTo>
                  <a:lnTo>
                    <a:pt x="213" y="81"/>
                  </a:lnTo>
                  <a:lnTo>
                    <a:pt x="219" y="77"/>
                  </a:lnTo>
                  <a:lnTo>
                    <a:pt x="215" y="80"/>
                  </a:lnTo>
                  <a:lnTo>
                    <a:pt x="222" y="79"/>
                  </a:lnTo>
                  <a:lnTo>
                    <a:pt x="228" y="79"/>
                  </a:lnTo>
                  <a:lnTo>
                    <a:pt x="226" y="81"/>
                  </a:lnTo>
                  <a:lnTo>
                    <a:pt x="222" y="85"/>
                  </a:lnTo>
                  <a:lnTo>
                    <a:pt x="219" y="88"/>
                  </a:lnTo>
                  <a:lnTo>
                    <a:pt x="217" y="90"/>
                  </a:lnTo>
                  <a:lnTo>
                    <a:pt x="220" y="90"/>
                  </a:lnTo>
                  <a:lnTo>
                    <a:pt x="231" y="82"/>
                  </a:lnTo>
                  <a:lnTo>
                    <a:pt x="242" y="77"/>
                  </a:lnTo>
                  <a:lnTo>
                    <a:pt x="227" y="88"/>
                  </a:lnTo>
                  <a:lnTo>
                    <a:pt x="237" y="86"/>
                  </a:lnTo>
                  <a:lnTo>
                    <a:pt x="248" y="84"/>
                  </a:lnTo>
                  <a:lnTo>
                    <a:pt x="249" y="82"/>
                  </a:lnTo>
                  <a:lnTo>
                    <a:pt x="248" y="84"/>
                  </a:lnTo>
                  <a:lnTo>
                    <a:pt x="254" y="82"/>
                  </a:lnTo>
                  <a:lnTo>
                    <a:pt x="260" y="81"/>
                  </a:lnTo>
                  <a:lnTo>
                    <a:pt x="258" y="84"/>
                  </a:lnTo>
                  <a:lnTo>
                    <a:pt x="254" y="85"/>
                  </a:lnTo>
                  <a:lnTo>
                    <a:pt x="250" y="88"/>
                  </a:lnTo>
                  <a:lnTo>
                    <a:pt x="245" y="89"/>
                  </a:lnTo>
                  <a:lnTo>
                    <a:pt x="242" y="92"/>
                  </a:lnTo>
                  <a:lnTo>
                    <a:pt x="257" y="88"/>
                  </a:lnTo>
                  <a:lnTo>
                    <a:pt x="273" y="85"/>
                  </a:lnTo>
                  <a:lnTo>
                    <a:pt x="287" y="84"/>
                  </a:lnTo>
                  <a:lnTo>
                    <a:pt x="285" y="86"/>
                  </a:lnTo>
                  <a:lnTo>
                    <a:pt x="281" y="89"/>
                  </a:lnTo>
                  <a:lnTo>
                    <a:pt x="277" y="92"/>
                  </a:lnTo>
                  <a:lnTo>
                    <a:pt x="273" y="94"/>
                  </a:lnTo>
                  <a:lnTo>
                    <a:pt x="271" y="95"/>
                  </a:lnTo>
                  <a:lnTo>
                    <a:pt x="275" y="95"/>
                  </a:lnTo>
                  <a:lnTo>
                    <a:pt x="278" y="94"/>
                  </a:lnTo>
                  <a:lnTo>
                    <a:pt x="281" y="92"/>
                  </a:lnTo>
                  <a:lnTo>
                    <a:pt x="287" y="88"/>
                  </a:lnTo>
                  <a:lnTo>
                    <a:pt x="294" y="84"/>
                  </a:lnTo>
                  <a:lnTo>
                    <a:pt x="290" y="84"/>
                  </a:lnTo>
                  <a:lnTo>
                    <a:pt x="299" y="81"/>
                  </a:lnTo>
                  <a:lnTo>
                    <a:pt x="312" y="79"/>
                  </a:lnTo>
                  <a:lnTo>
                    <a:pt x="326" y="76"/>
                  </a:lnTo>
                  <a:lnTo>
                    <a:pt x="339" y="72"/>
                  </a:lnTo>
                  <a:lnTo>
                    <a:pt x="351" y="71"/>
                  </a:lnTo>
                  <a:lnTo>
                    <a:pt x="357" y="70"/>
                  </a:lnTo>
                  <a:lnTo>
                    <a:pt x="356" y="70"/>
                  </a:lnTo>
                  <a:lnTo>
                    <a:pt x="353" y="71"/>
                  </a:lnTo>
                  <a:lnTo>
                    <a:pt x="352" y="72"/>
                  </a:lnTo>
                  <a:lnTo>
                    <a:pt x="349" y="73"/>
                  </a:lnTo>
                  <a:lnTo>
                    <a:pt x="348" y="75"/>
                  </a:lnTo>
                  <a:lnTo>
                    <a:pt x="347" y="76"/>
                  </a:lnTo>
                  <a:lnTo>
                    <a:pt x="345" y="76"/>
                  </a:lnTo>
                  <a:lnTo>
                    <a:pt x="345" y="76"/>
                  </a:lnTo>
                  <a:lnTo>
                    <a:pt x="348" y="76"/>
                  </a:lnTo>
                  <a:lnTo>
                    <a:pt x="351" y="75"/>
                  </a:lnTo>
                  <a:lnTo>
                    <a:pt x="358" y="70"/>
                  </a:lnTo>
                  <a:lnTo>
                    <a:pt x="374" y="59"/>
                  </a:lnTo>
                  <a:lnTo>
                    <a:pt x="388" y="52"/>
                  </a:lnTo>
                  <a:lnTo>
                    <a:pt x="402" y="45"/>
                  </a:lnTo>
                  <a:lnTo>
                    <a:pt x="415" y="41"/>
                  </a:lnTo>
                  <a:lnTo>
                    <a:pt x="418" y="41"/>
                  </a:lnTo>
                  <a:lnTo>
                    <a:pt x="429" y="36"/>
                  </a:lnTo>
                  <a:lnTo>
                    <a:pt x="419" y="39"/>
                  </a:lnTo>
                  <a:lnTo>
                    <a:pt x="410" y="40"/>
                  </a:lnTo>
                  <a:lnTo>
                    <a:pt x="405" y="41"/>
                  </a:lnTo>
                  <a:lnTo>
                    <a:pt x="401" y="42"/>
                  </a:lnTo>
                  <a:lnTo>
                    <a:pt x="397" y="44"/>
                  </a:lnTo>
                  <a:lnTo>
                    <a:pt x="396" y="45"/>
                  </a:lnTo>
                  <a:lnTo>
                    <a:pt x="394" y="45"/>
                  </a:lnTo>
                  <a:lnTo>
                    <a:pt x="396" y="45"/>
                  </a:lnTo>
                  <a:lnTo>
                    <a:pt x="397" y="44"/>
                  </a:lnTo>
                  <a:lnTo>
                    <a:pt x="398" y="42"/>
                  </a:lnTo>
                  <a:lnTo>
                    <a:pt x="402" y="41"/>
                  </a:lnTo>
                  <a:lnTo>
                    <a:pt x="406" y="40"/>
                  </a:lnTo>
                  <a:lnTo>
                    <a:pt x="405" y="40"/>
                  </a:lnTo>
                  <a:lnTo>
                    <a:pt x="422" y="33"/>
                  </a:lnTo>
                  <a:lnTo>
                    <a:pt x="427" y="31"/>
                  </a:lnTo>
                  <a:lnTo>
                    <a:pt x="432" y="30"/>
                  </a:lnTo>
                  <a:lnTo>
                    <a:pt x="437" y="27"/>
                  </a:lnTo>
                  <a:lnTo>
                    <a:pt x="437" y="27"/>
                  </a:lnTo>
                  <a:lnTo>
                    <a:pt x="441" y="26"/>
                  </a:lnTo>
                  <a:lnTo>
                    <a:pt x="445" y="24"/>
                  </a:lnTo>
                  <a:lnTo>
                    <a:pt x="465" y="18"/>
                  </a:lnTo>
                  <a:lnTo>
                    <a:pt x="489" y="15"/>
                  </a:lnTo>
                  <a:lnTo>
                    <a:pt x="492" y="13"/>
                  </a:lnTo>
                  <a:lnTo>
                    <a:pt x="498" y="10"/>
                  </a:lnTo>
                  <a:lnTo>
                    <a:pt x="492" y="9"/>
                  </a:lnTo>
                  <a:lnTo>
                    <a:pt x="486" y="8"/>
                  </a:lnTo>
                  <a:lnTo>
                    <a:pt x="498" y="8"/>
                  </a:lnTo>
                  <a:lnTo>
                    <a:pt x="509" y="8"/>
                  </a:lnTo>
                  <a:lnTo>
                    <a:pt x="510" y="8"/>
                  </a:lnTo>
                  <a:lnTo>
                    <a:pt x="513" y="6"/>
                  </a:lnTo>
                  <a:lnTo>
                    <a:pt x="517" y="6"/>
                  </a:lnTo>
                  <a:lnTo>
                    <a:pt x="527" y="5"/>
                  </a:lnTo>
                  <a:lnTo>
                    <a:pt x="523" y="4"/>
                  </a:lnTo>
                  <a:lnTo>
                    <a:pt x="520" y="1"/>
                  </a:lnTo>
                  <a:lnTo>
                    <a:pt x="517" y="0"/>
                  </a:lnTo>
                  <a:lnTo>
                    <a:pt x="530" y="0"/>
                  </a:ln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896386"/>
              <a:endParaRPr lang="en-US" kern="0" dirty="0">
                <a:solidFill>
                  <a:sysClr val="windowText" lastClr="000000"/>
                </a:solidFill>
              </a:endParaRPr>
            </a:p>
          </p:txBody>
        </p:sp>
        <p:sp>
          <p:nvSpPr>
            <p:cNvPr id="61" name="Freeform 328"/>
            <p:cNvSpPr>
              <a:spLocks noEditPoints="1"/>
            </p:cNvSpPr>
            <p:nvPr/>
          </p:nvSpPr>
          <p:spPr bwMode="auto">
            <a:xfrm>
              <a:off x="10762758" y="1256362"/>
              <a:ext cx="804301" cy="1672044"/>
            </a:xfrm>
            <a:custGeom>
              <a:avLst/>
              <a:gdLst>
                <a:gd name="T0" fmla="*/ 382 w 748"/>
                <a:gd name="T1" fmla="*/ 6 h 1555"/>
                <a:gd name="T2" fmla="*/ 436 w 748"/>
                <a:gd name="T3" fmla="*/ 53 h 1555"/>
                <a:gd name="T4" fmla="*/ 440 w 748"/>
                <a:gd name="T5" fmla="*/ 99 h 1555"/>
                <a:gd name="T6" fmla="*/ 452 w 748"/>
                <a:gd name="T7" fmla="*/ 146 h 1555"/>
                <a:gd name="T8" fmla="*/ 444 w 748"/>
                <a:gd name="T9" fmla="*/ 159 h 1555"/>
                <a:gd name="T10" fmla="*/ 439 w 748"/>
                <a:gd name="T11" fmla="*/ 172 h 1555"/>
                <a:gd name="T12" fmla="*/ 442 w 748"/>
                <a:gd name="T13" fmla="*/ 177 h 1555"/>
                <a:gd name="T14" fmla="*/ 435 w 748"/>
                <a:gd name="T15" fmla="*/ 201 h 1555"/>
                <a:gd name="T16" fmla="*/ 408 w 748"/>
                <a:gd name="T17" fmla="*/ 212 h 1555"/>
                <a:gd name="T18" fmla="*/ 408 w 748"/>
                <a:gd name="T19" fmla="*/ 260 h 1555"/>
                <a:gd name="T20" fmla="*/ 458 w 748"/>
                <a:gd name="T21" fmla="*/ 312 h 1555"/>
                <a:gd name="T22" fmla="*/ 482 w 748"/>
                <a:gd name="T23" fmla="*/ 397 h 1555"/>
                <a:gd name="T24" fmla="*/ 475 w 748"/>
                <a:gd name="T25" fmla="*/ 469 h 1555"/>
                <a:gd name="T26" fmla="*/ 480 w 748"/>
                <a:gd name="T27" fmla="*/ 542 h 1555"/>
                <a:gd name="T28" fmla="*/ 577 w 748"/>
                <a:gd name="T29" fmla="*/ 686 h 1555"/>
                <a:gd name="T30" fmla="*/ 653 w 748"/>
                <a:gd name="T31" fmla="*/ 761 h 1555"/>
                <a:gd name="T32" fmla="*/ 638 w 748"/>
                <a:gd name="T33" fmla="*/ 791 h 1555"/>
                <a:gd name="T34" fmla="*/ 607 w 748"/>
                <a:gd name="T35" fmla="*/ 800 h 1555"/>
                <a:gd name="T36" fmla="*/ 504 w 748"/>
                <a:gd name="T37" fmla="*/ 685 h 1555"/>
                <a:gd name="T38" fmla="*/ 446 w 748"/>
                <a:gd name="T39" fmla="*/ 717 h 1555"/>
                <a:gd name="T40" fmla="*/ 557 w 748"/>
                <a:gd name="T41" fmla="*/ 935 h 1555"/>
                <a:gd name="T42" fmla="*/ 589 w 748"/>
                <a:gd name="T43" fmla="*/ 1076 h 1555"/>
                <a:gd name="T44" fmla="*/ 617 w 748"/>
                <a:gd name="T45" fmla="*/ 1359 h 1555"/>
                <a:gd name="T46" fmla="*/ 699 w 748"/>
                <a:gd name="T47" fmla="*/ 1510 h 1555"/>
                <a:gd name="T48" fmla="*/ 748 w 748"/>
                <a:gd name="T49" fmla="*/ 1533 h 1555"/>
                <a:gd name="T50" fmla="*/ 689 w 748"/>
                <a:gd name="T51" fmla="*/ 1554 h 1555"/>
                <a:gd name="T52" fmla="*/ 623 w 748"/>
                <a:gd name="T53" fmla="*/ 1531 h 1555"/>
                <a:gd name="T54" fmla="*/ 546 w 748"/>
                <a:gd name="T55" fmla="*/ 1501 h 1555"/>
                <a:gd name="T56" fmla="*/ 546 w 748"/>
                <a:gd name="T57" fmla="*/ 1475 h 1555"/>
                <a:gd name="T58" fmla="*/ 547 w 748"/>
                <a:gd name="T59" fmla="*/ 1469 h 1555"/>
                <a:gd name="T60" fmla="*/ 530 w 748"/>
                <a:gd name="T61" fmla="*/ 1324 h 1555"/>
                <a:gd name="T62" fmla="*/ 480 w 748"/>
                <a:gd name="T63" fmla="*/ 1108 h 1555"/>
                <a:gd name="T64" fmla="*/ 426 w 748"/>
                <a:gd name="T65" fmla="*/ 952 h 1555"/>
                <a:gd name="T66" fmla="*/ 368 w 748"/>
                <a:gd name="T67" fmla="*/ 1049 h 1555"/>
                <a:gd name="T68" fmla="*/ 257 w 748"/>
                <a:gd name="T69" fmla="*/ 1201 h 1555"/>
                <a:gd name="T70" fmla="*/ 183 w 748"/>
                <a:gd name="T71" fmla="*/ 1292 h 1555"/>
                <a:gd name="T72" fmla="*/ 146 w 748"/>
                <a:gd name="T73" fmla="*/ 1336 h 1555"/>
                <a:gd name="T74" fmla="*/ 119 w 748"/>
                <a:gd name="T75" fmla="*/ 1403 h 1555"/>
                <a:gd name="T76" fmla="*/ 147 w 748"/>
                <a:gd name="T77" fmla="*/ 1532 h 1555"/>
                <a:gd name="T78" fmla="*/ 138 w 748"/>
                <a:gd name="T79" fmla="*/ 1547 h 1555"/>
                <a:gd name="T80" fmla="*/ 70 w 748"/>
                <a:gd name="T81" fmla="*/ 1526 h 1555"/>
                <a:gd name="T82" fmla="*/ 31 w 748"/>
                <a:gd name="T83" fmla="*/ 1453 h 1555"/>
                <a:gd name="T84" fmla="*/ 12 w 748"/>
                <a:gd name="T85" fmla="*/ 1385 h 1555"/>
                <a:gd name="T86" fmla="*/ 123 w 748"/>
                <a:gd name="T87" fmla="*/ 1232 h 1555"/>
                <a:gd name="T88" fmla="*/ 257 w 748"/>
                <a:gd name="T89" fmla="*/ 1019 h 1555"/>
                <a:gd name="T90" fmla="*/ 239 w 748"/>
                <a:gd name="T91" fmla="*/ 853 h 1555"/>
                <a:gd name="T92" fmla="*/ 226 w 748"/>
                <a:gd name="T93" fmla="*/ 672 h 1555"/>
                <a:gd name="T94" fmla="*/ 240 w 748"/>
                <a:gd name="T95" fmla="*/ 530 h 1555"/>
                <a:gd name="T96" fmla="*/ 180 w 748"/>
                <a:gd name="T97" fmla="*/ 536 h 1555"/>
                <a:gd name="T98" fmla="*/ 140 w 748"/>
                <a:gd name="T99" fmla="*/ 698 h 1555"/>
                <a:gd name="T100" fmla="*/ 155 w 748"/>
                <a:gd name="T101" fmla="*/ 811 h 1555"/>
                <a:gd name="T102" fmla="*/ 132 w 748"/>
                <a:gd name="T103" fmla="*/ 778 h 1555"/>
                <a:gd name="T104" fmla="*/ 105 w 748"/>
                <a:gd name="T105" fmla="*/ 849 h 1555"/>
                <a:gd name="T106" fmla="*/ 73 w 748"/>
                <a:gd name="T107" fmla="*/ 802 h 1555"/>
                <a:gd name="T108" fmla="*/ 75 w 748"/>
                <a:gd name="T109" fmla="*/ 751 h 1555"/>
                <a:gd name="T110" fmla="*/ 85 w 748"/>
                <a:gd name="T111" fmla="*/ 578 h 1555"/>
                <a:gd name="T112" fmla="*/ 143 w 748"/>
                <a:gd name="T113" fmla="*/ 383 h 1555"/>
                <a:gd name="T114" fmla="*/ 194 w 748"/>
                <a:gd name="T115" fmla="*/ 282 h 1555"/>
                <a:gd name="T116" fmla="*/ 268 w 748"/>
                <a:gd name="T117" fmla="*/ 254 h 1555"/>
                <a:gd name="T118" fmla="*/ 306 w 748"/>
                <a:gd name="T119" fmla="*/ 215 h 1555"/>
                <a:gd name="T120" fmla="*/ 284 w 748"/>
                <a:gd name="T121" fmla="*/ 172 h 1555"/>
                <a:gd name="T122" fmla="*/ 272 w 748"/>
                <a:gd name="T123" fmla="*/ 29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8" h="1555">
                  <a:moveTo>
                    <a:pt x="433" y="62"/>
                  </a:moveTo>
                  <a:lnTo>
                    <a:pt x="432" y="62"/>
                  </a:lnTo>
                  <a:lnTo>
                    <a:pt x="432" y="62"/>
                  </a:lnTo>
                  <a:lnTo>
                    <a:pt x="433" y="62"/>
                  </a:lnTo>
                  <a:close/>
                  <a:moveTo>
                    <a:pt x="337" y="0"/>
                  </a:moveTo>
                  <a:lnTo>
                    <a:pt x="354" y="0"/>
                  </a:lnTo>
                  <a:lnTo>
                    <a:pt x="368" y="3"/>
                  </a:lnTo>
                  <a:lnTo>
                    <a:pt x="382" y="6"/>
                  </a:lnTo>
                  <a:lnTo>
                    <a:pt x="386" y="7"/>
                  </a:lnTo>
                  <a:lnTo>
                    <a:pt x="387" y="7"/>
                  </a:lnTo>
                  <a:lnTo>
                    <a:pt x="397" y="11"/>
                  </a:lnTo>
                  <a:lnTo>
                    <a:pt x="409" y="17"/>
                  </a:lnTo>
                  <a:lnTo>
                    <a:pt x="419" y="26"/>
                  </a:lnTo>
                  <a:lnTo>
                    <a:pt x="428" y="35"/>
                  </a:lnTo>
                  <a:lnTo>
                    <a:pt x="433" y="44"/>
                  </a:lnTo>
                  <a:lnTo>
                    <a:pt x="436" y="53"/>
                  </a:lnTo>
                  <a:lnTo>
                    <a:pt x="433" y="61"/>
                  </a:lnTo>
                  <a:lnTo>
                    <a:pt x="433" y="66"/>
                  </a:lnTo>
                  <a:lnTo>
                    <a:pt x="436" y="75"/>
                  </a:lnTo>
                  <a:lnTo>
                    <a:pt x="437" y="84"/>
                  </a:lnTo>
                  <a:lnTo>
                    <a:pt x="439" y="92"/>
                  </a:lnTo>
                  <a:lnTo>
                    <a:pt x="440" y="96"/>
                  </a:lnTo>
                  <a:lnTo>
                    <a:pt x="440" y="97"/>
                  </a:lnTo>
                  <a:lnTo>
                    <a:pt x="440" y="99"/>
                  </a:lnTo>
                  <a:lnTo>
                    <a:pt x="440" y="102"/>
                  </a:lnTo>
                  <a:lnTo>
                    <a:pt x="440" y="105"/>
                  </a:lnTo>
                  <a:lnTo>
                    <a:pt x="439" y="109"/>
                  </a:lnTo>
                  <a:lnTo>
                    <a:pt x="436" y="113"/>
                  </a:lnTo>
                  <a:lnTo>
                    <a:pt x="439" y="119"/>
                  </a:lnTo>
                  <a:lnTo>
                    <a:pt x="444" y="128"/>
                  </a:lnTo>
                  <a:lnTo>
                    <a:pt x="448" y="137"/>
                  </a:lnTo>
                  <a:lnTo>
                    <a:pt x="452" y="146"/>
                  </a:lnTo>
                  <a:lnTo>
                    <a:pt x="454" y="152"/>
                  </a:lnTo>
                  <a:lnTo>
                    <a:pt x="454" y="154"/>
                  </a:lnTo>
                  <a:lnTo>
                    <a:pt x="454" y="155"/>
                  </a:lnTo>
                  <a:lnTo>
                    <a:pt x="453" y="157"/>
                  </a:lnTo>
                  <a:lnTo>
                    <a:pt x="450" y="158"/>
                  </a:lnTo>
                  <a:lnTo>
                    <a:pt x="448" y="159"/>
                  </a:lnTo>
                  <a:lnTo>
                    <a:pt x="446" y="159"/>
                  </a:lnTo>
                  <a:lnTo>
                    <a:pt x="444" y="159"/>
                  </a:lnTo>
                  <a:lnTo>
                    <a:pt x="444" y="164"/>
                  </a:lnTo>
                  <a:lnTo>
                    <a:pt x="444" y="167"/>
                  </a:lnTo>
                  <a:lnTo>
                    <a:pt x="444" y="170"/>
                  </a:lnTo>
                  <a:lnTo>
                    <a:pt x="444" y="171"/>
                  </a:lnTo>
                  <a:lnTo>
                    <a:pt x="444" y="171"/>
                  </a:lnTo>
                  <a:lnTo>
                    <a:pt x="441" y="172"/>
                  </a:lnTo>
                  <a:lnTo>
                    <a:pt x="440" y="172"/>
                  </a:lnTo>
                  <a:lnTo>
                    <a:pt x="439" y="172"/>
                  </a:lnTo>
                  <a:lnTo>
                    <a:pt x="439" y="172"/>
                  </a:lnTo>
                  <a:lnTo>
                    <a:pt x="437" y="172"/>
                  </a:lnTo>
                  <a:lnTo>
                    <a:pt x="435" y="173"/>
                  </a:lnTo>
                  <a:lnTo>
                    <a:pt x="437" y="175"/>
                  </a:lnTo>
                  <a:lnTo>
                    <a:pt x="440" y="176"/>
                  </a:lnTo>
                  <a:lnTo>
                    <a:pt x="440" y="176"/>
                  </a:lnTo>
                  <a:lnTo>
                    <a:pt x="441" y="177"/>
                  </a:lnTo>
                  <a:lnTo>
                    <a:pt x="442" y="177"/>
                  </a:lnTo>
                  <a:lnTo>
                    <a:pt x="441" y="180"/>
                  </a:lnTo>
                  <a:lnTo>
                    <a:pt x="441" y="181"/>
                  </a:lnTo>
                  <a:lnTo>
                    <a:pt x="440" y="181"/>
                  </a:lnTo>
                  <a:lnTo>
                    <a:pt x="439" y="183"/>
                  </a:lnTo>
                  <a:lnTo>
                    <a:pt x="437" y="183"/>
                  </a:lnTo>
                  <a:lnTo>
                    <a:pt x="436" y="184"/>
                  </a:lnTo>
                  <a:lnTo>
                    <a:pt x="432" y="197"/>
                  </a:lnTo>
                  <a:lnTo>
                    <a:pt x="435" y="201"/>
                  </a:lnTo>
                  <a:lnTo>
                    <a:pt x="435" y="203"/>
                  </a:lnTo>
                  <a:lnTo>
                    <a:pt x="435" y="206"/>
                  </a:lnTo>
                  <a:lnTo>
                    <a:pt x="432" y="208"/>
                  </a:lnTo>
                  <a:lnTo>
                    <a:pt x="430" y="210"/>
                  </a:lnTo>
                  <a:lnTo>
                    <a:pt x="427" y="211"/>
                  </a:lnTo>
                  <a:lnTo>
                    <a:pt x="424" y="211"/>
                  </a:lnTo>
                  <a:lnTo>
                    <a:pt x="414" y="212"/>
                  </a:lnTo>
                  <a:lnTo>
                    <a:pt x="408" y="212"/>
                  </a:lnTo>
                  <a:lnTo>
                    <a:pt x="400" y="210"/>
                  </a:lnTo>
                  <a:lnTo>
                    <a:pt x="397" y="214"/>
                  </a:lnTo>
                  <a:lnTo>
                    <a:pt x="397" y="221"/>
                  </a:lnTo>
                  <a:lnTo>
                    <a:pt x="397" y="232"/>
                  </a:lnTo>
                  <a:lnTo>
                    <a:pt x="399" y="242"/>
                  </a:lnTo>
                  <a:lnTo>
                    <a:pt x="401" y="252"/>
                  </a:lnTo>
                  <a:lnTo>
                    <a:pt x="404" y="259"/>
                  </a:lnTo>
                  <a:lnTo>
                    <a:pt x="408" y="260"/>
                  </a:lnTo>
                  <a:lnTo>
                    <a:pt x="414" y="261"/>
                  </a:lnTo>
                  <a:lnTo>
                    <a:pt x="423" y="263"/>
                  </a:lnTo>
                  <a:lnTo>
                    <a:pt x="431" y="265"/>
                  </a:lnTo>
                  <a:lnTo>
                    <a:pt x="442" y="273"/>
                  </a:lnTo>
                  <a:lnTo>
                    <a:pt x="452" y="282"/>
                  </a:lnTo>
                  <a:lnTo>
                    <a:pt x="455" y="292"/>
                  </a:lnTo>
                  <a:lnTo>
                    <a:pt x="458" y="303"/>
                  </a:lnTo>
                  <a:lnTo>
                    <a:pt x="458" y="312"/>
                  </a:lnTo>
                  <a:lnTo>
                    <a:pt x="457" y="310"/>
                  </a:lnTo>
                  <a:lnTo>
                    <a:pt x="458" y="313"/>
                  </a:lnTo>
                  <a:lnTo>
                    <a:pt x="464" y="325"/>
                  </a:lnTo>
                  <a:lnTo>
                    <a:pt x="468" y="335"/>
                  </a:lnTo>
                  <a:lnTo>
                    <a:pt x="473" y="350"/>
                  </a:lnTo>
                  <a:lnTo>
                    <a:pt x="479" y="368"/>
                  </a:lnTo>
                  <a:lnTo>
                    <a:pt x="482" y="384"/>
                  </a:lnTo>
                  <a:lnTo>
                    <a:pt x="482" y="397"/>
                  </a:lnTo>
                  <a:lnTo>
                    <a:pt x="479" y="407"/>
                  </a:lnTo>
                  <a:lnTo>
                    <a:pt x="475" y="415"/>
                  </a:lnTo>
                  <a:lnTo>
                    <a:pt x="472" y="423"/>
                  </a:lnTo>
                  <a:lnTo>
                    <a:pt x="473" y="446"/>
                  </a:lnTo>
                  <a:lnTo>
                    <a:pt x="473" y="451"/>
                  </a:lnTo>
                  <a:lnTo>
                    <a:pt x="475" y="459"/>
                  </a:lnTo>
                  <a:lnTo>
                    <a:pt x="476" y="467"/>
                  </a:lnTo>
                  <a:lnTo>
                    <a:pt x="475" y="469"/>
                  </a:lnTo>
                  <a:lnTo>
                    <a:pt x="475" y="471"/>
                  </a:lnTo>
                  <a:lnTo>
                    <a:pt x="475" y="499"/>
                  </a:lnTo>
                  <a:lnTo>
                    <a:pt x="473" y="527"/>
                  </a:lnTo>
                  <a:lnTo>
                    <a:pt x="473" y="530"/>
                  </a:lnTo>
                  <a:lnTo>
                    <a:pt x="475" y="531"/>
                  </a:lnTo>
                  <a:lnTo>
                    <a:pt x="476" y="534"/>
                  </a:lnTo>
                  <a:lnTo>
                    <a:pt x="477" y="538"/>
                  </a:lnTo>
                  <a:lnTo>
                    <a:pt x="480" y="542"/>
                  </a:lnTo>
                  <a:lnTo>
                    <a:pt x="497" y="567"/>
                  </a:lnTo>
                  <a:lnTo>
                    <a:pt x="516" y="593"/>
                  </a:lnTo>
                  <a:lnTo>
                    <a:pt x="533" y="620"/>
                  </a:lnTo>
                  <a:lnTo>
                    <a:pt x="547" y="647"/>
                  </a:lnTo>
                  <a:lnTo>
                    <a:pt x="559" y="671"/>
                  </a:lnTo>
                  <a:lnTo>
                    <a:pt x="561" y="671"/>
                  </a:lnTo>
                  <a:lnTo>
                    <a:pt x="568" y="677"/>
                  </a:lnTo>
                  <a:lnTo>
                    <a:pt x="577" y="686"/>
                  </a:lnTo>
                  <a:lnTo>
                    <a:pt x="589" y="696"/>
                  </a:lnTo>
                  <a:lnTo>
                    <a:pt x="602" y="707"/>
                  </a:lnTo>
                  <a:lnTo>
                    <a:pt x="617" y="718"/>
                  </a:lnTo>
                  <a:lnTo>
                    <a:pt x="629" y="729"/>
                  </a:lnTo>
                  <a:lnTo>
                    <a:pt x="641" y="739"/>
                  </a:lnTo>
                  <a:lnTo>
                    <a:pt x="649" y="748"/>
                  </a:lnTo>
                  <a:lnTo>
                    <a:pt x="654" y="756"/>
                  </a:lnTo>
                  <a:lnTo>
                    <a:pt x="653" y="761"/>
                  </a:lnTo>
                  <a:lnTo>
                    <a:pt x="641" y="757"/>
                  </a:lnTo>
                  <a:lnTo>
                    <a:pt x="631" y="751"/>
                  </a:lnTo>
                  <a:lnTo>
                    <a:pt x="620" y="746"/>
                  </a:lnTo>
                  <a:lnTo>
                    <a:pt x="610" y="742"/>
                  </a:lnTo>
                  <a:lnTo>
                    <a:pt x="614" y="755"/>
                  </a:lnTo>
                  <a:lnTo>
                    <a:pt x="620" y="768"/>
                  </a:lnTo>
                  <a:lnTo>
                    <a:pt x="629" y="779"/>
                  </a:lnTo>
                  <a:lnTo>
                    <a:pt x="638" y="791"/>
                  </a:lnTo>
                  <a:lnTo>
                    <a:pt x="636" y="793"/>
                  </a:lnTo>
                  <a:lnTo>
                    <a:pt x="633" y="793"/>
                  </a:lnTo>
                  <a:lnTo>
                    <a:pt x="631" y="793"/>
                  </a:lnTo>
                  <a:lnTo>
                    <a:pt x="620" y="798"/>
                  </a:lnTo>
                  <a:lnTo>
                    <a:pt x="614" y="798"/>
                  </a:lnTo>
                  <a:lnTo>
                    <a:pt x="615" y="798"/>
                  </a:lnTo>
                  <a:lnTo>
                    <a:pt x="613" y="798"/>
                  </a:lnTo>
                  <a:lnTo>
                    <a:pt x="607" y="800"/>
                  </a:lnTo>
                  <a:lnTo>
                    <a:pt x="602" y="801"/>
                  </a:lnTo>
                  <a:lnTo>
                    <a:pt x="578" y="786"/>
                  </a:lnTo>
                  <a:lnTo>
                    <a:pt x="574" y="784"/>
                  </a:lnTo>
                  <a:lnTo>
                    <a:pt x="537" y="738"/>
                  </a:lnTo>
                  <a:lnTo>
                    <a:pt x="531" y="724"/>
                  </a:lnTo>
                  <a:lnTo>
                    <a:pt x="529" y="718"/>
                  </a:lnTo>
                  <a:lnTo>
                    <a:pt x="519" y="700"/>
                  </a:lnTo>
                  <a:lnTo>
                    <a:pt x="504" y="685"/>
                  </a:lnTo>
                  <a:lnTo>
                    <a:pt x="479" y="658"/>
                  </a:lnTo>
                  <a:lnTo>
                    <a:pt x="472" y="650"/>
                  </a:lnTo>
                  <a:lnTo>
                    <a:pt x="463" y="641"/>
                  </a:lnTo>
                  <a:lnTo>
                    <a:pt x="453" y="631"/>
                  </a:lnTo>
                  <a:lnTo>
                    <a:pt x="444" y="620"/>
                  </a:lnTo>
                  <a:lnTo>
                    <a:pt x="444" y="623"/>
                  </a:lnTo>
                  <a:lnTo>
                    <a:pt x="446" y="669"/>
                  </a:lnTo>
                  <a:lnTo>
                    <a:pt x="446" y="717"/>
                  </a:lnTo>
                  <a:lnTo>
                    <a:pt x="461" y="737"/>
                  </a:lnTo>
                  <a:lnTo>
                    <a:pt x="475" y="761"/>
                  </a:lnTo>
                  <a:lnTo>
                    <a:pt x="489" y="788"/>
                  </a:lnTo>
                  <a:lnTo>
                    <a:pt x="504" y="817"/>
                  </a:lnTo>
                  <a:lnTo>
                    <a:pt x="519" y="848"/>
                  </a:lnTo>
                  <a:lnTo>
                    <a:pt x="533" y="877"/>
                  </a:lnTo>
                  <a:lnTo>
                    <a:pt x="546" y="907"/>
                  </a:lnTo>
                  <a:lnTo>
                    <a:pt x="557" y="935"/>
                  </a:lnTo>
                  <a:lnTo>
                    <a:pt x="566" y="961"/>
                  </a:lnTo>
                  <a:lnTo>
                    <a:pt x="573" y="984"/>
                  </a:lnTo>
                  <a:lnTo>
                    <a:pt x="577" y="1003"/>
                  </a:lnTo>
                  <a:lnTo>
                    <a:pt x="579" y="1024"/>
                  </a:lnTo>
                  <a:lnTo>
                    <a:pt x="583" y="1040"/>
                  </a:lnTo>
                  <a:lnTo>
                    <a:pt x="586" y="1053"/>
                  </a:lnTo>
                  <a:lnTo>
                    <a:pt x="588" y="1063"/>
                  </a:lnTo>
                  <a:lnTo>
                    <a:pt x="589" y="1076"/>
                  </a:lnTo>
                  <a:lnTo>
                    <a:pt x="595" y="1176"/>
                  </a:lnTo>
                  <a:lnTo>
                    <a:pt x="595" y="1177"/>
                  </a:lnTo>
                  <a:lnTo>
                    <a:pt x="597" y="1205"/>
                  </a:lnTo>
                  <a:lnTo>
                    <a:pt x="598" y="1236"/>
                  </a:lnTo>
                  <a:lnTo>
                    <a:pt x="598" y="1262"/>
                  </a:lnTo>
                  <a:lnTo>
                    <a:pt x="604" y="1294"/>
                  </a:lnTo>
                  <a:lnTo>
                    <a:pt x="610" y="1328"/>
                  </a:lnTo>
                  <a:lnTo>
                    <a:pt x="617" y="1359"/>
                  </a:lnTo>
                  <a:lnTo>
                    <a:pt x="623" y="1389"/>
                  </a:lnTo>
                  <a:lnTo>
                    <a:pt x="629" y="1412"/>
                  </a:lnTo>
                  <a:lnTo>
                    <a:pt x="637" y="1429"/>
                  </a:lnTo>
                  <a:lnTo>
                    <a:pt x="645" y="1442"/>
                  </a:lnTo>
                  <a:lnTo>
                    <a:pt x="655" y="1458"/>
                  </a:lnTo>
                  <a:lnTo>
                    <a:pt x="668" y="1476"/>
                  </a:lnTo>
                  <a:lnTo>
                    <a:pt x="682" y="1495"/>
                  </a:lnTo>
                  <a:lnTo>
                    <a:pt x="699" y="1510"/>
                  </a:lnTo>
                  <a:lnTo>
                    <a:pt x="716" y="1520"/>
                  </a:lnTo>
                  <a:lnTo>
                    <a:pt x="735" y="1523"/>
                  </a:lnTo>
                  <a:lnTo>
                    <a:pt x="738" y="1524"/>
                  </a:lnTo>
                  <a:lnTo>
                    <a:pt x="740" y="1526"/>
                  </a:lnTo>
                  <a:lnTo>
                    <a:pt x="743" y="1527"/>
                  </a:lnTo>
                  <a:lnTo>
                    <a:pt x="745" y="1529"/>
                  </a:lnTo>
                  <a:lnTo>
                    <a:pt x="747" y="1532"/>
                  </a:lnTo>
                  <a:lnTo>
                    <a:pt x="748" y="1533"/>
                  </a:lnTo>
                  <a:lnTo>
                    <a:pt x="747" y="1536"/>
                  </a:lnTo>
                  <a:lnTo>
                    <a:pt x="745" y="1538"/>
                  </a:lnTo>
                  <a:lnTo>
                    <a:pt x="744" y="1541"/>
                  </a:lnTo>
                  <a:lnTo>
                    <a:pt x="743" y="1544"/>
                  </a:lnTo>
                  <a:lnTo>
                    <a:pt x="742" y="1547"/>
                  </a:lnTo>
                  <a:lnTo>
                    <a:pt x="722" y="1553"/>
                  </a:lnTo>
                  <a:lnTo>
                    <a:pt x="705" y="1555"/>
                  </a:lnTo>
                  <a:lnTo>
                    <a:pt x="689" y="1554"/>
                  </a:lnTo>
                  <a:lnTo>
                    <a:pt x="671" y="1549"/>
                  </a:lnTo>
                  <a:lnTo>
                    <a:pt x="662" y="1546"/>
                  </a:lnTo>
                  <a:lnTo>
                    <a:pt x="656" y="1545"/>
                  </a:lnTo>
                  <a:lnTo>
                    <a:pt x="653" y="1544"/>
                  </a:lnTo>
                  <a:lnTo>
                    <a:pt x="647" y="1542"/>
                  </a:lnTo>
                  <a:lnTo>
                    <a:pt x="642" y="1540"/>
                  </a:lnTo>
                  <a:lnTo>
                    <a:pt x="635" y="1536"/>
                  </a:lnTo>
                  <a:lnTo>
                    <a:pt x="623" y="1531"/>
                  </a:lnTo>
                  <a:lnTo>
                    <a:pt x="607" y="1527"/>
                  </a:lnTo>
                  <a:lnTo>
                    <a:pt x="593" y="1529"/>
                  </a:lnTo>
                  <a:lnTo>
                    <a:pt x="582" y="1532"/>
                  </a:lnTo>
                  <a:lnTo>
                    <a:pt x="573" y="1532"/>
                  </a:lnTo>
                  <a:lnTo>
                    <a:pt x="560" y="1527"/>
                  </a:lnTo>
                  <a:lnTo>
                    <a:pt x="552" y="1519"/>
                  </a:lnTo>
                  <a:lnTo>
                    <a:pt x="548" y="1510"/>
                  </a:lnTo>
                  <a:lnTo>
                    <a:pt x="546" y="1501"/>
                  </a:lnTo>
                  <a:lnTo>
                    <a:pt x="544" y="1493"/>
                  </a:lnTo>
                  <a:lnTo>
                    <a:pt x="544" y="1488"/>
                  </a:lnTo>
                  <a:lnTo>
                    <a:pt x="544" y="1485"/>
                  </a:lnTo>
                  <a:lnTo>
                    <a:pt x="544" y="1485"/>
                  </a:lnTo>
                  <a:lnTo>
                    <a:pt x="544" y="1483"/>
                  </a:lnTo>
                  <a:lnTo>
                    <a:pt x="546" y="1480"/>
                  </a:lnTo>
                  <a:lnTo>
                    <a:pt x="546" y="1478"/>
                  </a:lnTo>
                  <a:lnTo>
                    <a:pt x="546" y="1475"/>
                  </a:lnTo>
                  <a:lnTo>
                    <a:pt x="546" y="1471"/>
                  </a:lnTo>
                  <a:lnTo>
                    <a:pt x="546" y="1469"/>
                  </a:lnTo>
                  <a:lnTo>
                    <a:pt x="547" y="1466"/>
                  </a:lnTo>
                  <a:lnTo>
                    <a:pt x="547" y="1465"/>
                  </a:lnTo>
                  <a:lnTo>
                    <a:pt x="547" y="1464"/>
                  </a:lnTo>
                  <a:lnTo>
                    <a:pt x="547" y="1464"/>
                  </a:lnTo>
                  <a:lnTo>
                    <a:pt x="547" y="1466"/>
                  </a:lnTo>
                  <a:lnTo>
                    <a:pt x="547" y="1469"/>
                  </a:lnTo>
                  <a:lnTo>
                    <a:pt x="547" y="1475"/>
                  </a:lnTo>
                  <a:lnTo>
                    <a:pt x="549" y="1445"/>
                  </a:lnTo>
                  <a:lnTo>
                    <a:pt x="549" y="1420"/>
                  </a:lnTo>
                  <a:lnTo>
                    <a:pt x="546" y="1396"/>
                  </a:lnTo>
                  <a:lnTo>
                    <a:pt x="542" y="1378"/>
                  </a:lnTo>
                  <a:lnTo>
                    <a:pt x="538" y="1364"/>
                  </a:lnTo>
                  <a:lnTo>
                    <a:pt x="537" y="1356"/>
                  </a:lnTo>
                  <a:lnTo>
                    <a:pt x="530" y="1324"/>
                  </a:lnTo>
                  <a:lnTo>
                    <a:pt x="522" y="1294"/>
                  </a:lnTo>
                  <a:lnTo>
                    <a:pt x="516" y="1269"/>
                  </a:lnTo>
                  <a:lnTo>
                    <a:pt x="508" y="1244"/>
                  </a:lnTo>
                  <a:lnTo>
                    <a:pt x="502" y="1219"/>
                  </a:lnTo>
                  <a:lnTo>
                    <a:pt x="495" y="1195"/>
                  </a:lnTo>
                  <a:lnTo>
                    <a:pt x="489" y="1169"/>
                  </a:lnTo>
                  <a:lnTo>
                    <a:pt x="484" y="1141"/>
                  </a:lnTo>
                  <a:lnTo>
                    <a:pt x="480" y="1108"/>
                  </a:lnTo>
                  <a:lnTo>
                    <a:pt x="477" y="1070"/>
                  </a:lnTo>
                  <a:lnTo>
                    <a:pt x="477" y="1026"/>
                  </a:lnTo>
                  <a:lnTo>
                    <a:pt x="475" y="1023"/>
                  </a:lnTo>
                  <a:lnTo>
                    <a:pt x="468" y="1014"/>
                  </a:lnTo>
                  <a:lnTo>
                    <a:pt x="461" y="1003"/>
                  </a:lnTo>
                  <a:lnTo>
                    <a:pt x="450" y="988"/>
                  </a:lnTo>
                  <a:lnTo>
                    <a:pt x="439" y="970"/>
                  </a:lnTo>
                  <a:lnTo>
                    <a:pt x="426" y="952"/>
                  </a:lnTo>
                  <a:lnTo>
                    <a:pt x="413" y="934"/>
                  </a:lnTo>
                  <a:lnTo>
                    <a:pt x="401" y="917"/>
                  </a:lnTo>
                  <a:lnTo>
                    <a:pt x="390" y="902"/>
                  </a:lnTo>
                  <a:lnTo>
                    <a:pt x="384" y="955"/>
                  </a:lnTo>
                  <a:lnTo>
                    <a:pt x="381" y="991"/>
                  </a:lnTo>
                  <a:lnTo>
                    <a:pt x="373" y="1028"/>
                  </a:lnTo>
                  <a:lnTo>
                    <a:pt x="374" y="1035"/>
                  </a:lnTo>
                  <a:lnTo>
                    <a:pt x="368" y="1049"/>
                  </a:lnTo>
                  <a:lnTo>
                    <a:pt x="359" y="1066"/>
                  </a:lnTo>
                  <a:lnTo>
                    <a:pt x="350" y="1083"/>
                  </a:lnTo>
                  <a:lnTo>
                    <a:pt x="339" y="1099"/>
                  </a:lnTo>
                  <a:lnTo>
                    <a:pt x="329" y="1112"/>
                  </a:lnTo>
                  <a:lnTo>
                    <a:pt x="312" y="1133"/>
                  </a:lnTo>
                  <a:lnTo>
                    <a:pt x="294" y="1157"/>
                  </a:lnTo>
                  <a:lnTo>
                    <a:pt x="275" y="1181"/>
                  </a:lnTo>
                  <a:lnTo>
                    <a:pt x="257" y="1201"/>
                  </a:lnTo>
                  <a:lnTo>
                    <a:pt x="257" y="1203"/>
                  </a:lnTo>
                  <a:lnTo>
                    <a:pt x="250" y="1212"/>
                  </a:lnTo>
                  <a:lnTo>
                    <a:pt x="240" y="1223"/>
                  </a:lnTo>
                  <a:lnTo>
                    <a:pt x="228" y="1238"/>
                  </a:lnTo>
                  <a:lnTo>
                    <a:pt x="216" y="1253"/>
                  </a:lnTo>
                  <a:lnTo>
                    <a:pt x="204" y="1267"/>
                  </a:lnTo>
                  <a:lnTo>
                    <a:pt x="192" y="1281"/>
                  </a:lnTo>
                  <a:lnTo>
                    <a:pt x="183" y="1292"/>
                  </a:lnTo>
                  <a:lnTo>
                    <a:pt x="181" y="1293"/>
                  </a:lnTo>
                  <a:lnTo>
                    <a:pt x="176" y="1300"/>
                  </a:lnTo>
                  <a:lnTo>
                    <a:pt x="169" y="1306"/>
                  </a:lnTo>
                  <a:lnTo>
                    <a:pt x="164" y="1312"/>
                  </a:lnTo>
                  <a:lnTo>
                    <a:pt x="161" y="1315"/>
                  </a:lnTo>
                  <a:lnTo>
                    <a:pt x="154" y="1324"/>
                  </a:lnTo>
                  <a:lnTo>
                    <a:pt x="150" y="1331"/>
                  </a:lnTo>
                  <a:lnTo>
                    <a:pt x="146" y="1336"/>
                  </a:lnTo>
                  <a:lnTo>
                    <a:pt x="143" y="1340"/>
                  </a:lnTo>
                  <a:lnTo>
                    <a:pt x="141" y="1346"/>
                  </a:lnTo>
                  <a:lnTo>
                    <a:pt x="137" y="1354"/>
                  </a:lnTo>
                  <a:lnTo>
                    <a:pt x="132" y="1365"/>
                  </a:lnTo>
                  <a:lnTo>
                    <a:pt x="124" y="1382"/>
                  </a:lnTo>
                  <a:lnTo>
                    <a:pt x="124" y="1383"/>
                  </a:lnTo>
                  <a:lnTo>
                    <a:pt x="124" y="1386"/>
                  </a:lnTo>
                  <a:lnTo>
                    <a:pt x="119" y="1403"/>
                  </a:lnTo>
                  <a:lnTo>
                    <a:pt x="115" y="1420"/>
                  </a:lnTo>
                  <a:lnTo>
                    <a:pt x="114" y="1439"/>
                  </a:lnTo>
                  <a:lnTo>
                    <a:pt x="114" y="1454"/>
                  </a:lnTo>
                  <a:lnTo>
                    <a:pt x="115" y="1470"/>
                  </a:lnTo>
                  <a:lnTo>
                    <a:pt x="118" y="1485"/>
                  </a:lnTo>
                  <a:lnTo>
                    <a:pt x="123" y="1502"/>
                  </a:lnTo>
                  <a:lnTo>
                    <a:pt x="133" y="1518"/>
                  </a:lnTo>
                  <a:lnTo>
                    <a:pt x="147" y="1532"/>
                  </a:lnTo>
                  <a:lnTo>
                    <a:pt x="150" y="1535"/>
                  </a:lnTo>
                  <a:lnTo>
                    <a:pt x="151" y="1537"/>
                  </a:lnTo>
                  <a:lnTo>
                    <a:pt x="152" y="1540"/>
                  </a:lnTo>
                  <a:lnTo>
                    <a:pt x="151" y="1542"/>
                  </a:lnTo>
                  <a:lnTo>
                    <a:pt x="150" y="1545"/>
                  </a:lnTo>
                  <a:lnTo>
                    <a:pt x="147" y="1546"/>
                  </a:lnTo>
                  <a:lnTo>
                    <a:pt x="143" y="1547"/>
                  </a:lnTo>
                  <a:lnTo>
                    <a:pt x="138" y="1547"/>
                  </a:lnTo>
                  <a:lnTo>
                    <a:pt x="138" y="1547"/>
                  </a:lnTo>
                  <a:lnTo>
                    <a:pt x="134" y="1550"/>
                  </a:lnTo>
                  <a:lnTo>
                    <a:pt x="127" y="1550"/>
                  </a:lnTo>
                  <a:lnTo>
                    <a:pt x="115" y="1550"/>
                  </a:lnTo>
                  <a:lnTo>
                    <a:pt x="102" y="1547"/>
                  </a:lnTo>
                  <a:lnTo>
                    <a:pt x="89" y="1542"/>
                  </a:lnTo>
                  <a:lnTo>
                    <a:pt x="78" y="1536"/>
                  </a:lnTo>
                  <a:lnTo>
                    <a:pt x="70" y="1526"/>
                  </a:lnTo>
                  <a:lnTo>
                    <a:pt x="65" y="1516"/>
                  </a:lnTo>
                  <a:lnTo>
                    <a:pt x="61" y="1510"/>
                  </a:lnTo>
                  <a:lnTo>
                    <a:pt x="58" y="1504"/>
                  </a:lnTo>
                  <a:lnTo>
                    <a:pt x="56" y="1496"/>
                  </a:lnTo>
                  <a:lnTo>
                    <a:pt x="52" y="1487"/>
                  </a:lnTo>
                  <a:lnTo>
                    <a:pt x="47" y="1471"/>
                  </a:lnTo>
                  <a:lnTo>
                    <a:pt x="40" y="1461"/>
                  </a:lnTo>
                  <a:lnTo>
                    <a:pt x="31" y="1453"/>
                  </a:lnTo>
                  <a:lnTo>
                    <a:pt x="22" y="1448"/>
                  </a:lnTo>
                  <a:lnTo>
                    <a:pt x="13" y="1444"/>
                  </a:lnTo>
                  <a:lnTo>
                    <a:pt x="8" y="1439"/>
                  </a:lnTo>
                  <a:lnTo>
                    <a:pt x="0" y="1424"/>
                  </a:lnTo>
                  <a:lnTo>
                    <a:pt x="0" y="1409"/>
                  </a:lnTo>
                  <a:lnTo>
                    <a:pt x="3" y="1396"/>
                  </a:lnTo>
                  <a:lnTo>
                    <a:pt x="11" y="1385"/>
                  </a:lnTo>
                  <a:lnTo>
                    <a:pt x="12" y="1385"/>
                  </a:lnTo>
                  <a:lnTo>
                    <a:pt x="13" y="1383"/>
                  </a:lnTo>
                  <a:lnTo>
                    <a:pt x="30" y="1368"/>
                  </a:lnTo>
                  <a:lnTo>
                    <a:pt x="45" y="1352"/>
                  </a:lnTo>
                  <a:lnTo>
                    <a:pt x="61" y="1336"/>
                  </a:lnTo>
                  <a:lnTo>
                    <a:pt x="75" y="1316"/>
                  </a:lnTo>
                  <a:lnTo>
                    <a:pt x="91" y="1293"/>
                  </a:lnTo>
                  <a:lnTo>
                    <a:pt x="102" y="1270"/>
                  </a:lnTo>
                  <a:lnTo>
                    <a:pt x="123" y="1232"/>
                  </a:lnTo>
                  <a:lnTo>
                    <a:pt x="138" y="1199"/>
                  </a:lnTo>
                  <a:lnTo>
                    <a:pt x="154" y="1169"/>
                  </a:lnTo>
                  <a:lnTo>
                    <a:pt x="167" y="1142"/>
                  </a:lnTo>
                  <a:lnTo>
                    <a:pt x="181" y="1116"/>
                  </a:lnTo>
                  <a:lnTo>
                    <a:pt x="195" y="1092"/>
                  </a:lnTo>
                  <a:lnTo>
                    <a:pt x="212" y="1068"/>
                  </a:lnTo>
                  <a:lnTo>
                    <a:pt x="232" y="1044"/>
                  </a:lnTo>
                  <a:lnTo>
                    <a:pt x="257" y="1019"/>
                  </a:lnTo>
                  <a:lnTo>
                    <a:pt x="257" y="1013"/>
                  </a:lnTo>
                  <a:lnTo>
                    <a:pt x="256" y="1000"/>
                  </a:lnTo>
                  <a:lnTo>
                    <a:pt x="254" y="982"/>
                  </a:lnTo>
                  <a:lnTo>
                    <a:pt x="252" y="959"/>
                  </a:lnTo>
                  <a:lnTo>
                    <a:pt x="249" y="933"/>
                  </a:lnTo>
                  <a:lnTo>
                    <a:pt x="245" y="907"/>
                  </a:lnTo>
                  <a:lnTo>
                    <a:pt x="241" y="879"/>
                  </a:lnTo>
                  <a:lnTo>
                    <a:pt x="239" y="853"/>
                  </a:lnTo>
                  <a:lnTo>
                    <a:pt x="235" y="828"/>
                  </a:lnTo>
                  <a:lnTo>
                    <a:pt x="232" y="808"/>
                  </a:lnTo>
                  <a:lnTo>
                    <a:pt x="231" y="791"/>
                  </a:lnTo>
                  <a:lnTo>
                    <a:pt x="231" y="780"/>
                  </a:lnTo>
                  <a:lnTo>
                    <a:pt x="228" y="770"/>
                  </a:lnTo>
                  <a:lnTo>
                    <a:pt x="222" y="738"/>
                  </a:lnTo>
                  <a:lnTo>
                    <a:pt x="221" y="706"/>
                  </a:lnTo>
                  <a:lnTo>
                    <a:pt x="226" y="672"/>
                  </a:lnTo>
                  <a:lnTo>
                    <a:pt x="230" y="658"/>
                  </a:lnTo>
                  <a:lnTo>
                    <a:pt x="235" y="645"/>
                  </a:lnTo>
                  <a:lnTo>
                    <a:pt x="240" y="631"/>
                  </a:lnTo>
                  <a:lnTo>
                    <a:pt x="243" y="615"/>
                  </a:lnTo>
                  <a:lnTo>
                    <a:pt x="248" y="594"/>
                  </a:lnTo>
                  <a:lnTo>
                    <a:pt x="249" y="574"/>
                  </a:lnTo>
                  <a:lnTo>
                    <a:pt x="245" y="551"/>
                  </a:lnTo>
                  <a:lnTo>
                    <a:pt x="240" y="530"/>
                  </a:lnTo>
                  <a:lnTo>
                    <a:pt x="232" y="509"/>
                  </a:lnTo>
                  <a:lnTo>
                    <a:pt x="218" y="447"/>
                  </a:lnTo>
                  <a:lnTo>
                    <a:pt x="213" y="469"/>
                  </a:lnTo>
                  <a:lnTo>
                    <a:pt x="205" y="492"/>
                  </a:lnTo>
                  <a:lnTo>
                    <a:pt x="194" y="514"/>
                  </a:lnTo>
                  <a:lnTo>
                    <a:pt x="191" y="518"/>
                  </a:lnTo>
                  <a:lnTo>
                    <a:pt x="186" y="526"/>
                  </a:lnTo>
                  <a:lnTo>
                    <a:pt x="180" y="536"/>
                  </a:lnTo>
                  <a:lnTo>
                    <a:pt x="173" y="548"/>
                  </a:lnTo>
                  <a:lnTo>
                    <a:pt x="168" y="558"/>
                  </a:lnTo>
                  <a:lnTo>
                    <a:pt x="165" y="569"/>
                  </a:lnTo>
                  <a:lnTo>
                    <a:pt x="160" y="605"/>
                  </a:lnTo>
                  <a:lnTo>
                    <a:pt x="154" y="638"/>
                  </a:lnTo>
                  <a:lnTo>
                    <a:pt x="145" y="672"/>
                  </a:lnTo>
                  <a:lnTo>
                    <a:pt x="138" y="696"/>
                  </a:lnTo>
                  <a:lnTo>
                    <a:pt x="140" y="698"/>
                  </a:lnTo>
                  <a:lnTo>
                    <a:pt x="141" y="707"/>
                  </a:lnTo>
                  <a:lnTo>
                    <a:pt x="143" y="721"/>
                  </a:lnTo>
                  <a:lnTo>
                    <a:pt x="146" y="737"/>
                  </a:lnTo>
                  <a:lnTo>
                    <a:pt x="150" y="755"/>
                  </a:lnTo>
                  <a:lnTo>
                    <a:pt x="152" y="771"/>
                  </a:lnTo>
                  <a:lnTo>
                    <a:pt x="155" y="788"/>
                  </a:lnTo>
                  <a:lnTo>
                    <a:pt x="156" y="801"/>
                  </a:lnTo>
                  <a:lnTo>
                    <a:pt x="155" y="811"/>
                  </a:lnTo>
                  <a:lnTo>
                    <a:pt x="151" y="817"/>
                  </a:lnTo>
                  <a:lnTo>
                    <a:pt x="146" y="818"/>
                  </a:lnTo>
                  <a:lnTo>
                    <a:pt x="143" y="814"/>
                  </a:lnTo>
                  <a:lnTo>
                    <a:pt x="141" y="808"/>
                  </a:lnTo>
                  <a:lnTo>
                    <a:pt x="140" y="800"/>
                  </a:lnTo>
                  <a:lnTo>
                    <a:pt x="137" y="791"/>
                  </a:lnTo>
                  <a:lnTo>
                    <a:pt x="134" y="784"/>
                  </a:lnTo>
                  <a:lnTo>
                    <a:pt x="132" y="778"/>
                  </a:lnTo>
                  <a:lnTo>
                    <a:pt x="125" y="791"/>
                  </a:lnTo>
                  <a:lnTo>
                    <a:pt x="123" y="804"/>
                  </a:lnTo>
                  <a:lnTo>
                    <a:pt x="122" y="817"/>
                  </a:lnTo>
                  <a:lnTo>
                    <a:pt x="120" y="831"/>
                  </a:lnTo>
                  <a:lnTo>
                    <a:pt x="125" y="846"/>
                  </a:lnTo>
                  <a:lnTo>
                    <a:pt x="127" y="863"/>
                  </a:lnTo>
                  <a:lnTo>
                    <a:pt x="114" y="858"/>
                  </a:lnTo>
                  <a:lnTo>
                    <a:pt x="105" y="849"/>
                  </a:lnTo>
                  <a:lnTo>
                    <a:pt x="100" y="837"/>
                  </a:lnTo>
                  <a:lnTo>
                    <a:pt x="101" y="844"/>
                  </a:lnTo>
                  <a:lnTo>
                    <a:pt x="109" y="858"/>
                  </a:lnTo>
                  <a:lnTo>
                    <a:pt x="98" y="849"/>
                  </a:lnTo>
                  <a:lnTo>
                    <a:pt x="89" y="836"/>
                  </a:lnTo>
                  <a:lnTo>
                    <a:pt x="83" y="822"/>
                  </a:lnTo>
                  <a:lnTo>
                    <a:pt x="78" y="810"/>
                  </a:lnTo>
                  <a:lnTo>
                    <a:pt x="73" y="802"/>
                  </a:lnTo>
                  <a:lnTo>
                    <a:pt x="70" y="798"/>
                  </a:lnTo>
                  <a:lnTo>
                    <a:pt x="70" y="798"/>
                  </a:lnTo>
                  <a:lnTo>
                    <a:pt x="70" y="792"/>
                  </a:lnTo>
                  <a:lnTo>
                    <a:pt x="70" y="784"/>
                  </a:lnTo>
                  <a:lnTo>
                    <a:pt x="70" y="782"/>
                  </a:lnTo>
                  <a:lnTo>
                    <a:pt x="71" y="774"/>
                  </a:lnTo>
                  <a:lnTo>
                    <a:pt x="73" y="764"/>
                  </a:lnTo>
                  <a:lnTo>
                    <a:pt x="75" y="751"/>
                  </a:lnTo>
                  <a:lnTo>
                    <a:pt x="78" y="739"/>
                  </a:lnTo>
                  <a:lnTo>
                    <a:pt x="80" y="729"/>
                  </a:lnTo>
                  <a:lnTo>
                    <a:pt x="83" y="722"/>
                  </a:lnTo>
                  <a:lnTo>
                    <a:pt x="87" y="696"/>
                  </a:lnTo>
                  <a:lnTo>
                    <a:pt x="88" y="669"/>
                  </a:lnTo>
                  <a:lnTo>
                    <a:pt x="85" y="644"/>
                  </a:lnTo>
                  <a:lnTo>
                    <a:pt x="83" y="610"/>
                  </a:lnTo>
                  <a:lnTo>
                    <a:pt x="85" y="578"/>
                  </a:lnTo>
                  <a:lnTo>
                    <a:pt x="91" y="549"/>
                  </a:lnTo>
                  <a:lnTo>
                    <a:pt x="97" y="523"/>
                  </a:lnTo>
                  <a:lnTo>
                    <a:pt x="103" y="501"/>
                  </a:lnTo>
                  <a:lnTo>
                    <a:pt x="110" y="482"/>
                  </a:lnTo>
                  <a:lnTo>
                    <a:pt x="118" y="456"/>
                  </a:lnTo>
                  <a:lnTo>
                    <a:pt x="125" y="432"/>
                  </a:lnTo>
                  <a:lnTo>
                    <a:pt x="133" y="407"/>
                  </a:lnTo>
                  <a:lnTo>
                    <a:pt x="143" y="383"/>
                  </a:lnTo>
                  <a:lnTo>
                    <a:pt x="150" y="368"/>
                  </a:lnTo>
                  <a:lnTo>
                    <a:pt x="154" y="354"/>
                  </a:lnTo>
                  <a:lnTo>
                    <a:pt x="159" y="341"/>
                  </a:lnTo>
                  <a:lnTo>
                    <a:pt x="160" y="337"/>
                  </a:lnTo>
                  <a:lnTo>
                    <a:pt x="163" y="330"/>
                  </a:lnTo>
                  <a:lnTo>
                    <a:pt x="169" y="317"/>
                  </a:lnTo>
                  <a:lnTo>
                    <a:pt x="178" y="301"/>
                  </a:lnTo>
                  <a:lnTo>
                    <a:pt x="194" y="282"/>
                  </a:lnTo>
                  <a:lnTo>
                    <a:pt x="203" y="274"/>
                  </a:lnTo>
                  <a:lnTo>
                    <a:pt x="214" y="268"/>
                  </a:lnTo>
                  <a:lnTo>
                    <a:pt x="221" y="265"/>
                  </a:lnTo>
                  <a:lnTo>
                    <a:pt x="230" y="261"/>
                  </a:lnTo>
                  <a:lnTo>
                    <a:pt x="239" y="257"/>
                  </a:lnTo>
                  <a:lnTo>
                    <a:pt x="247" y="256"/>
                  </a:lnTo>
                  <a:lnTo>
                    <a:pt x="256" y="254"/>
                  </a:lnTo>
                  <a:lnTo>
                    <a:pt x="268" y="254"/>
                  </a:lnTo>
                  <a:lnTo>
                    <a:pt x="281" y="252"/>
                  </a:lnTo>
                  <a:lnTo>
                    <a:pt x="292" y="251"/>
                  </a:lnTo>
                  <a:lnTo>
                    <a:pt x="297" y="248"/>
                  </a:lnTo>
                  <a:lnTo>
                    <a:pt x="298" y="245"/>
                  </a:lnTo>
                  <a:lnTo>
                    <a:pt x="302" y="239"/>
                  </a:lnTo>
                  <a:lnTo>
                    <a:pt x="303" y="235"/>
                  </a:lnTo>
                  <a:lnTo>
                    <a:pt x="306" y="232"/>
                  </a:lnTo>
                  <a:lnTo>
                    <a:pt x="306" y="215"/>
                  </a:lnTo>
                  <a:lnTo>
                    <a:pt x="303" y="203"/>
                  </a:lnTo>
                  <a:lnTo>
                    <a:pt x="301" y="195"/>
                  </a:lnTo>
                  <a:lnTo>
                    <a:pt x="298" y="192"/>
                  </a:lnTo>
                  <a:lnTo>
                    <a:pt x="296" y="190"/>
                  </a:lnTo>
                  <a:lnTo>
                    <a:pt x="294" y="189"/>
                  </a:lnTo>
                  <a:lnTo>
                    <a:pt x="294" y="188"/>
                  </a:lnTo>
                  <a:lnTo>
                    <a:pt x="290" y="183"/>
                  </a:lnTo>
                  <a:lnTo>
                    <a:pt x="284" y="172"/>
                  </a:lnTo>
                  <a:lnTo>
                    <a:pt x="276" y="161"/>
                  </a:lnTo>
                  <a:lnTo>
                    <a:pt x="268" y="145"/>
                  </a:lnTo>
                  <a:lnTo>
                    <a:pt x="261" y="128"/>
                  </a:lnTo>
                  <a:lnTo>
                    <a:pt x="256" y="110"/>
                  </a:lnTo>
                  <a:lnTo>
                    <a:pt x="253" y="90"/>
                  </a:lnTo>
                  <a:lnTo>
                    <a:pt x="256" y="68"/>
                  </a:lnTo>
                  <a:lnTo>
                    <a:pt x="262" y="47"/>
                  </a:lnTo>
                  <a:lnTo>
                    <a:pt x="272" y="29"/>
                  </a:lnTo>
                  <a:lnTo>
                    <a:pt x="287" y="16"/>
                  </a:lnTo>
                  <a:lnTo>
                    <a:pt x="302" y="8"/>
                  </a:lnTo>
                  <a:lnTo>
                    <a:pt x="319" y="3"/>
                  </a:lnTo>
                  <a:lnTo>
                    <a:pt x="337" y="0"/>
                  </a:ln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896386"/>
              <a:endParaRPr lang="en-US" kern="0" dirty="0">
                <a:solidFill>
                  <a:sysClr val="windowText" lastClr="000000"/>
                </a:solidFill>
              </a:endParaRPr>
            </a:p>
          </p:txBody>
        </p:sp>
        <p:sp>
          <p:nvSpPr>
            <p:cNvPr id="62" name="Freeform 329"/>
            <p:cNvSpPr>
              <a:spLocks noEditPoints="1"/>
            </p:cNvSpPr>
            <p:nvPr/>
          </p:nvSpPr>
          <p:spPr bwMode="auto">
            <a:xfrm>
              <a:off x="4877051" y="1587545"/>
              <a:ext cx="547312" cy="1340861"/>
            </a:xfrm>
            <a:custGeom>
              <a:avLst/>
              <a:gdLst>
                <a:gd name="T0" fmla="*/ 177 w 509"/>
                <a:gd name="T1" fmla="*/ 642 h 1247"/>
                <a:gd name="T2" fmla="*/ 431 w 509"/>
                <a:gd name="T3" fmla="*/ 635 h 1247"/>
                <a:gd name="T4" fmla="*/ 418 w 509"/>
                <a:gd name="T5" fmla="*/ 629 h 1247"/>
                <a:gd name="T6" fmla="*/ 413 w 509"/>
                <a:gd name="T7" fmla="*/ 633 h 1247"/>
                <a:gd name="T8" fmla="*/ 397 w 509"/>
                <a:gd name="T9" fmla="*/ 620 h 1247"/>
                <a:gd name="T10" fmla="*/ 352 w 509"/>
                <a:gd name="T11" fmla="*/ 509 h 1247"/>
                <a:gd name="T12" fmla="*/ 137 w 509"/>
                <a:gd name="T13" fmla="*/ 311 h 1247"/>
                <a:gd name="T14" fmla="*/ 368 w 509"/>
                <a:gd name="T15" fmla="*/ 191 h 1247"/>
                <a:gd name="T16" fmla="*/ 426 w 509"/>
                <a:gd name="T17" fmla="*/ 32 h 1247"/>
                <a:gd name="T18" fmla="*/ 453 w 509"/>
                <a:gd name="T19" fmla="*/ 128 h 1247"/>
                <a:gd name="T20" fmla="*/ 445 w 509"/>
                <a:gd name="T21" fmla="*/ 175 h 1247"/>
                <a:gd name="T22" fmla="*/ 426 w 509"/>
                <a:gd name="T23" fmla="*/ 186 h 1247"/>
                <a:gd name="T24" fmla="*/ 410 w 509"/>
                <a:gd name="T25" fmla="*/ 192 h 1247"/>
                <a:gd name="T26" fmla="*/ 393 w 509"/>
                <a:gd name="T27" fmla="*/ 191 h 1247"/>
                <a:gd name="T28" fmla="*/ 378 w 509"/>
                <a:gd name="T29" fmla="*/ 188 h 1247"/>
                <a:gd name="T30" fmla="*/ 360 w 509"/>
                <a:gd name="T31" fmla="*/ 196 h 1247"/>
                <a:gd name="T32" fmla="*/ 346 w 509"/>
                <a:gd name="T33" fmla="*/ 222 h 1247"/>
                <a:gd name="T34" fmla="*/ 381 w 509"/>
                <a:gd name="T35" fmla="*/ 330 h 1247"/>
                <a:gd name="T36" fmla="*/ 379 w 509"/>
                <a:gd name="T37" fmla="*/ 361 h 1247"/>
                <a:gd name="T38" fmla="*/ 377 w 509"/>
                <a:gd name="T39" fmla="*/ 399 h 1247"/>
                <a:gd name="T40" fmla="*/ 373 w 509"/>
                <a:gd name="T41" fmla="*/ 432 h 1247"/>
                <a:gd name="T42" fmla="*/ 366 w 509"/>
                <a:gd name="T43" fmla="*/ 481 h 1247"/>
                <a:gd name="T44" fmla="*/ 359 w 509"/>
                <a:gd name="T45" fmla="*/ 514 h 1247"/>
                <a:gd name="T46" fmla="*/ 353 w 509"/>
                <a:gd name="T47" fmla="*/ 531 h 1247"/>
                <a:gd name="T48" fmla="*/ 364 w 509"/>
                <a:gd name="T49" fmla="*/ 550 h 1247"/>
                <a:gd name="T50" fmla="*/ 423 w 509"/>
                <a:gd name="T51" fmla="*/ 558 h 1247"/>
                <a:gd name="T52" fmla="*/ 506 w 509"/>
                <a:gd name="T53" fmla="*/ 488 h 1247"/>
                <a:gd name="T54" fmla="*/ 482 w 509"/>
                <a:gd name="T55" fmla="*/ 589 h 1247"/>
                <a:gd name="T56" fmla="*/ 430 w 509"/>
                <a:gd name="T57" fmla="*/ 648 h 1247"/>
                <a:gd name="T58" fmla="*/ 368 w 509"/>
                <a:gd name="T59" fmla="*/ 633 h 1247"/>
                <a:gd name="T60" fmla="*/ 368 w 509"/>
                <a:gd name="T61" fmla="*/ 651 h 1247"/>
                <a:gd name="T62" fmla="*/ 388 w 509"/>
                <a:gd name="T63" fmla="*/ 707 h 1247"/>
                <a:gd name="T64" fmla="*/ 404 w 509"/>
                <a:gd name="T65" fmla="*/ 751 h 1247"/>
                <a:gd name="T66" fmla="*/ 365 w 509"/>
                <a:gd name="T67" fmla="*/ 1144 h 1247"/>
                <a:gd name="T68" fmla="*/ 464 w 509"/>
                <a:gd name="T69" fmla="*/ 1211 h 1247"/>
                <a:gd name="T70" fmla="*/ 427 w 509"/>
                <a:gd name="T71" fmla="*/ 1247 h 1247"/>
                <a:gd name="T72" fmla="*/ 285 w 509"/>
                <a:gd name="T73" fmla="*/ 1234 h 1247"/>
                <a:gd name="T74" fmla="*/ 290 w 509"/>
                <a:gd name="T75" fmla="*/ 1137 h 1247"/>
                <a:gd name="T76" fmla="*/ 294 w 509"/>
                <a:gd name="T77" fmla="*/ 1088 h 1247"/>
                <a:gd name="T78" fmla="*/ 315 w 509"/>
                <a:gd name="T79" fmla="*/ 1006 h 1247"/>
                <a:gd name="T80" fmla="*/ 294 w 509"/>
                <a:gd name="T81" fmla="*/ 1020 h 1247"/>
                <a:gd name="T82" fmla="*/ 302 w 509"/>
                <a:gd name="T83" fmla="*/ 966 h 1247"/>
                <a:gd name="T84" fmla="*/ 294 w 509"/>
                <a:gd name="T85" fmla="*/ 941 h 1247"/>
                <a:gd name="T86" fmla="*/ 219 w 509"/>
                <a:gd name="T87" fmla="*/ 999 h 1247"/>
                <a:gd name="T88" fmla="*/ 206 w 509"/>
                <a:gd name="T89" fmla="*/ 992 h 1247"/>
                <a:gd name="T90" fmla="*/ 148 w 509"/>
                <a:gd name="T91" fmla="*/ 1033 h 1247"/>
                <a:gd name="T92" fmla="*/ 114 w 509"/>
                <a:gd name="T93" fmla="*/ 1038 h 1247"/>
                <a:gd name="T94" fmla="*/ 36 w 509"/>
                <a:gd name="T95" fmla="*/ 1167 h 1247"/>
                <a:gd name="T96" fmla="*/ 194 w 509"/>
                <a:gd name="T97" fmla="*/ 880 h 1247"/>
                <a:gd name="T98" fmla="*/ 236 w 509"/>
                <a:gd name="T99" fmla="*/ 813 h 1247"/>
                <a:gd name="T100" fmla="*/ 226 w 509"/>
                <a:gd name="T101" fmla="*/ 780 h 1247"/>
                <a:gd name="T102" fmla="*/ 212 w 509"/>
                <a:gd name="T103" fmla="*/ 762 h 1247"/>
                <a:gd name="T104" fmla="*/ 194 w 509"/>
                <a:gd name="T105" fmla="*/ 715 h 1247"/>
                <a:gd name="T106" fmla="*/ 172 w 509"/>
                <a:gd name="T107" fmla="*/ 662 h 1247"/>
                <a:gd name="T108" fmla="*/ 161 w 509"/>
                <a:gd name="T109" fmla="*/ 540 h 1247"/>
                <a:gd name="T110" fmla="*/ 88 w 509"/>
                <a:gd name="T111" fmla="*/ 640 h 1247"/>
                <a:gd name="T112" fmla="*/ 65 w 509"/>
                <a:gd name="T113" fmla="*/ 753 h 1247"/>
                <a:gd name="T114" fmla="*/ 27 w 509"/>
                <a:gd name="T115" fmla="*/ 644 h 1247"/>
                <a:gd name="T116" fmla="*/ 87 w 509"/>
                <a:gd name="T117" fmla="*/ 436 h 1247"/>
                <a:gd name="T118" fmla="*/ 118 w 509"/>
                <a:gd name="T119" fmla="*/ 341 h 1247"/>
                <a:gd name="T120" fmla="*/ 212 w 509"/>
                <a:gd name="T121" fmla="*/ 188 h 1247"/>
                <a:gd name="T122" fmla="*/ 240 w 509"/>
                <a:gd name="T123" fmla="*/ 72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9" h="1247">
                  <a:moveTo>
                    <a:pt x="365" y="1153"/>
                  </a:moveTo>
                  <a:lnTo>
                    <a:pt x="365" y="1153"/>
                  </a:lnTo>
                  <a:lnTo>
                    <a:pt x="366" y="1154"/>
                  </a:lnTo>
                  <a:lnTo>
                    <a:pt x="365" y="1153"/>
                  </a:lnTo>
                  <a:close/>
                  <a:moveTo>
                    <a:pt x="390" y="1017"/>
                  </a:moveTo>
                  <a:lnTo>
                    <a:pt x="384" y="1029"/>
                  </a:lnTo>
                  <a:lnTo>
                    <a:pt x="382" y="1039"/>
                  </a:lnTo>
                  <a:lnTo>
                    <a:pt x="386" y="1028"/>
                  </a:lnTo>
                  <a:lnTo>
                    <a:pt x="390" y="1017"/>
                  </a:lnTo>
                  <a:close/>
                  <a:moveTo>
                    <a:pt x="237" y="989"/>
                  </a:moveTo>
                  <a:lnTo>
                    <a:pt x="236" y="992"/>
                  </a:lnTo>
                  <a:lnTo>
                    <a:pt x="237" y="989"/>
                  </a:lnTo>
                  <a:lnTo>
                    <a:pt x="237" y="989"/>
                  </a:lnTo>
                  <a:close/>
                  <a:moveTo>
                    <a:pt x="320" y="906"/>
                  </a:moveTo>
                  <a:lnTo>
                    <a:pt x="320" y="906"/>
                  </a:lnTo>
                  <a:lnTo>
                    <a:pt x="320" y="906"/>
                  </a:lnTo>
                  <a:lnTo>
                    <a:pt x="320" y="906"/>
                  </a:lnTo>
                  <a:close/>
                  <a:moveTo>
                    <a:pt x="201" y="724"/>
                  </a:moveTo>
                  <a:lnTo>
                    <a:pt x="201" y="724"/>
                  </a:lnTo>
                  <a:lnTo>
                    <a:pt x="201" y="726"/>
                  </a:lnTo>
                  <a:lnTo>
                    <a:pt x="203" y="726"/>
                  </a:lnTo>
                  <a:lnTo>
                    <a:pt x="201" y="724"/>
                  </a:lnTo>
                  <a:close/>
                  <a:moveTo>
                    <a:pt x="195" y="710"/>
                  </a:moveTo>
                  <a:lnTo>
                    <a:pt x="195" y="711"/>
                  </a:lnTo>
                  <a:lnTo>
                    <a:pt x="195" y="713"/>
                  </a:lnTo>
                  <a:lnTo>
                    <a:pt x="195" y="711"/>
                  </a:lnTo>
                  <a:lnTo>
                    <a:pt x="195" y="713"/>
                  </a:lnTo>
                  <a:lnTo>
                    <a:pt x="196" y="715"/>
                  </a:lnTo>
                  <a:lnTo>
                    <a:pt x="195" y="710"/>
                  </a:lnTo>
                  <a:close/>
                  <a:moveTo>
                    <a:pt x="177" y="642"/>
                  </a:moveTo>
                  <a:lnTo>
                    <a:pt x="177" y="642"/>
                  </a:lnTo>
                  <a:lnTo>
                    <a:pt x="177" y="642"/>
                  </a:lnTo>
                  <a:lnTo>
                    <a:pt x="177" y="642"/>
                  </a:lnTo>
                  <a:close/>
                  <a:moveTo>
                    <a:pt x="437" y="636"/>
                  </a:moveTo>
                  <a:lnTo>
                    <a:pt x="441" y="640"/>
                  </a:lnTo>
                  <a:lnTo>
                    <a:pt x="442" y="640"/>
                  </a:lnTo>
                  <a:lnTo>
                    <a:pt x="439" y="636"/>
                  </a:lnTo>
                  <a:lnTo>
                    <a:pt x="437" y="636"/>
                  </a:lnTo>
                  <a:close/>
                  <a:moveTo>
                    <a:pt x="431" y="635"/>
                  </a:moveTo>
                  <a:lnTo>
                    <a:pt x="432" y="635"/>
                  </a:lnTo>
                  <a:lnTo>
                    <a:pt x="437" y="642"/>
                  </a:lnTo>
                  <a:lnTo>
                    <a:pt x="439" y="642"/>
                  </a:lnTo>
                  <a:lnTo>
                    <a:pt x="433" y="635"/>
                  </a:lnTo>
                  <a:lnTo>
                    <a:pt x="431" y="635"/>
                  </a:lnTo>
                  <a:close/>
                  <a:moveTo>
                    <a:pt x="448" y="634"/>
                  </a:moveTo>
                  <a:lnTo>
                    <a:pt x="448" y="635"/>
                  </a:lnTo>
                  <a:lnTo>
                    <a:pt x="448" y="635"/>
                  </a:lnTo>
                  <a:lnTo>
                    <a:pt x="448" y="635"/>
                  </a:lnTo>
                  <a:lnTo>
                    <a:pt x="449" y="634"/>
                  </a:lnTo>
                  <a:lnTo>
                    <a:pt x="449" y="634"/>
                  </a:lnTo>
                  <a:lnTo>
                    <a:pt x="448" y="634"/>
                  </a:lnTo>
                  <a:close/>
                  <a:moveTo>
                    <a:pt x="427" y="633"/>
                  </a:moveTo>
                  <a:lnTo>
                    <a:pt x="427" y="633"/>
                  </a:lnTo>
                  <a:lnTo>
                    <a:pt x="435" y="642"/>
                  </a:lnTo>
                  <a:lnTo>
                    <a:pt x="432" y="639"/>
                  </a:lnTo>
                  <a:lnTo>
                    <a:pt x="428" y="636"/>
                  </a:lnTo>
                  <a:lnTo>
                    <a:pt x="428" y="636"/>
                  </a:lnTo>
                  <a:lnTo>
                    <a:pt x="433" y="643"/>
                  </a:lnTo>
                  <a:lnTo>
                    <a:pt x="435" y="643"/>
                  </a:lnTo>
                  <a:lnTo>
                    <a:pt x="436" y="643"/>
                  </a:lnTo>
                  <a:lnTo>
                    <a:pt x="431" y="635"/>
                  </a:lnTo>
                  <a:lnTo>
                    <a:pt x="431" y="635"/>
                  </a:lnTo>
                  <a:lnTo>
                    <a:pt x="427" y="633"/>
                  </a:lnTo>
                  <a:close/>
                  <a:moveTo>
                    <a:pt x="417" y="627"/>
                  </a:moveTo>
                  <a:lnTo>
                    <a:pt x="418" y="629"/>
                  </a:lnTo>
                  <a:lnTo>
                    <a:pt x="419" y="630"/>
                  </a:lnTo>
                  <a:lnTo>
                    <a:pt x="426" y="636"/>
                  </a:lnTo>
                  <a:lnTo>
                    <a:pt x="431" y="642"/>
                  </a:lnTo>
                  <a:lnTo>
                    <a:pt x="431" y="642"/>
                  </a:lnTo>
                  <a:lnTo>
                    <a:pt x="427" y="638"/>
                  </a:lnTo>
                  <a:lnTo>
                    <a:pt x="423" y="633"/>
                  </a:lnTo>
                  <a:lnTo>
                    <a:pt x="423" y="633"/>
                  </a:lnTo>
                  <a:lnTo>
                    <a:pt x="423" y="633"/>
                  </a:lnTo>
                  <a:lnTo>
                    <a:pt x="420" y="630"/>
                  </a:lnTo>
                  <a:lnTo>
                    <a:pt x="419" y="629"/>
                  </a:lnTo>
                  <a:lnTo>
                    <a:pt x="419" y="629"/>
                  </a:lnTo>
                  <a:lnTo>
                    <a:pt x="418" y="627"/>
                  </a:lnTo>
                  <a:lnTo>
                    <a:pt x="417" y="627"/>
                  </a:lnTo>
                  <a:close/>
                  <a:moveTo>
                    <a:pt x="410" y="624"/>
                  </a:moveTo>
                  <a:lnTo>
                    <a:pt x="411" y="626"/>
                  </a:lnTo>
                  <a:lnTo>
                    <a:pt x="413" y="629"/>
                  </a:lnTo>
                  <a:lnTo>
                    <a:pt x="415" y="631"/>
                  </a:lnTo>
                  <a:lnTo>
                    <a:pt x="419" y="635"/>
                  </a:lnTo>
                  <a:lnTo>
                    <a:pt x="423" y="640"/>
                  </a:lnTo>
                  <a:lnTo>
                    <a:pt x="427" y="642"/>
                  </a:lnTo>
                  <a:lnTo>
                    <a:pt x="427" y="642"/>
                  </a:lnTo>
                  <a:lnTo>
                    <a:pt x="427" y="642"/>
                  </a:lnTo>
                  <a:lnTo>
                    <a:pt x="413" y="626"/>
                  </a:lnTo>
                  <a:lnTo>
                    <a:pt x="420" y="633"/>
                  </a:lnTo>
                  <a:lnTo>
                    <a:pt x="419" y="631"/>
                  </a:lnTo>
                  <a:lnTo>
                    <a:pt x="415" y="626"/>
                  </a:lnTo>
                  <a:lnTo>
                    <a:pt x="418" y="630"/>
                  </a:lnTo>
                  <a:lnTo>
                    <a:pt x="418" y="629"/>
                  </a:lnTo>
                  <a:lnTo>
                    <a:pt x="414" y="626"/>
                  </a:lnTo>
                  <a:lnTo>
                    <a:pt x="418" y="629"/>
                  </a:lnTo>
                  <a:lnTo>
                    <a:pt x="417" y="627"/>
                  </a:lnTo>
                  <a:lnTo>
                    <a:pt x="415" y="626"/>
                  </a:lnTo>
                  <a:lnTo>
                    <a:pt x="413" y="625"/>
                  </a:lnTo>
                  <a:lnTo>
                    <a:pt x="415" y="626"/>
                  </a:lnTo>
                  <a:lnTo>
                    <a:pt x="413" y="625"/>
                  </a:lnTo>
                  <a:lnTo>
                    <a:pt x="410" y="624"/>
                  </a:lnTo>
                  <a:lnTo>
                    <a:pt x="410" y="624"/>
                  </a:lnTo>
                  <a:close/>
                  <a:moveTo>
                    <a:pt x="405" y="621"/>
                  </a:moveTo>
                  <a:lnTo>
                    <a:pt x="406" y="625"/>
                  </a:lnTo>
                  <a:lnTo>
                    <a:pt x="418" y="636"/>
                  </a:lnTo>
                  <a:lnTo>
                    <a:pt x="420" y="639"/>
                  </a:lnTo>
                  <a:lnTo>
                    <a:pt x="422" y="639"/>
                  </a:lnTo>
                  <a:lnTo>
                    <a:pt x="418" y="635"/>
                  </a:lnTo>
                  <a:lnTo>
                    <a:pt x="414" y="630"/>
                  </a:lnTo>
                  <a:lnTo>
                    <a:pt x="414" y="633"/>
                  </a:lnTo>
                  <a:lnTo>
                    <a:pt x="413" y="630"/>
                  </a:lnTo>
                  <a:lnTo>
                    <a:pt x="409" y="625"/>
                  </a:lnTo>
                  <a:lnTo>
                    <a:pt x="413" y="629"/>
                  </a:lnTo>
                  <a:lnTo>
                    <a:pt x="411" y="627"/>
                  </a:lnTo>
                  <a:lnTo>
                    <a:pt x="409" y="624"/>
                  </a:lnTo>
                  <a:lnTo>
                    <a:pt x="410" y="626"/>
                  </a:lnTo>
                  <a:lnTo>
                    <a:pt x="409" y="622"/>
                  </a:lnTo>
                  <a:lnTo>
                    <a:pt x="405" y="621"/>
                  </a:lnTo>
                  <a:close/>
                  <a:moveTo>
                    <a:pt x="400" y="618"/>
                  </a:moveTo>
                  <a:lnTo>
                    <a:pt x="400" y="622"/>
                  </a:lnTo>
                  <a:lnTo>
                    <a:pt x="413" y="635"/>
                  </a:lnTo>
                  <a:lnTo>
                    <a:pt x="413" y="635"/>
                  </a:lnTo>
                  <a:lnTo>
                    <a:pt x="415" y="636"/>
                  </a:lnTo>
                  <a:lnTo>
                    <a:pt x="413" y="633"/>
                  </a:lnTo>
                  <a:lnTo>
                    <a:pt x="408" y="629"/>
                  </a:lnTo>
                  <a:lnTo>
                    <a:pt x="404" y="625"/>
                  </a:lnTo>
                  <a:lnTo>
                    <a:pt x="401" y="620"/>
                  </a:lnTo>
                  <a:lnTo>
                    <a:pt x="400" y="618"/>
                  </a:lnTo>
                  <a:close/>
                  <a:moveTo>
                    <a:pt x="469" y="617"/>
                  </a:moveTo>
                  <a:lnTo>
                    <a:pt x="469" y="617"/>
                  </a:lnTo>
                  <a:lnTo>
                    <a:pt x="469" y="617"/>
                  </a:lnTo>
                  <a:lnTo>
                    <a:pt x="469" y="617"/>
                  </a:lnTo>
                  <a:close/>
                  <a:moveTo>
                    <a:pt x="390" y="616"/>
                  </a:moveTo>
                  <a:lnTo>
                    <a:pt x="392" y="620"/>
                  </a:lnTo>
                  <a:lnTo>
                    <a:pt x="393" y="624"/>
                  </a:lnTo>
                  <a:lnTo>
                    <a:pt x="397" y="625"/>
                  </a:lnTo>
                  <a:lnTo>
                    <a:pt x="395" y="622"/>
                  </a:lnTo>
                  <a:lnTo>
                    <a:pt x="393" y="621"/>
                  </a:lnTo>
                  <a:lnTo>
                    <a:pt x="393" y="620"/>
                  </a:lnTo>
                  <a:lnTo>
                    <a:pt x="393" y="620"/>
                  </a:lnTo>
                  <a:lnTo>
                    <a:pt x="393" y="618"/>
                  </a:lnTo>
                  <a:lnTo>
                    <a:pt x="397" y="622"/>
                  </a:lnTo>
                  <a:lnTo>
                    <a:pt x="404" y="629"/>
                  </a:lnTo>
                  <a:lnTo>
                    <a:pt x="397" y="622"/>
                  </a:lnTo>
                  <a:lnTo>
                    <a:pt x="395" y="620"/>
                  </a:lnTo>
                  <a:lnTo>
                    <a:pt x="393" y="617"/>
                  </a:lnTo>
                  <a:lnTo>
                    <a:pt x="400" y="625"/>
                  </a:lnTo>
                  <a:lnTo>
                    <a:pt x="405" y="629"/>
                  </a:lnTo>
                  <a:lnTo>
                    <a:pt x="410" y="633"/>
                  </a:lnTo>
                  <a:lnTo>
                    <a:pt x="405" y="629"/>
                  </a:lnTo>
                  <a:lnTo>
                    <a:pt x="401" y="624"/>
                  </a:lnTo>
                  <a:lnTo>
                    <a:pt x="401" y="624"/>
                  </a:lnTo>
                  <a:lnTo>
                    <a:pt x="400" y="624"/>
                  </a:lnTo>
                  <a:lnTo>
                    <a:pt x="399" y="622"/>
                  </a:lnTo>
                  <a:lnTo>
                    <a:pt x="397" y="620"/>
                  </a:lnTo>
                  <a:lnTo>
                    <a:pt x="395" y="617"/>
                  </a:lnTo>
                  <a:lnTo>
                    <a:pt x="390" y="616"/>
                  </a:lnTo>
                  <a:close/>
                  <a:moveTo>
                    <a:pt x="472" y="616"/>
                  </a:moveTo>
                  <a:lnTo>
                    <a:pt x="471" y="617"/>
                  </a:lnTo>
                  <a:lnTo>
                    <a:pt x="471" y="617"/>
                  </a:lnTo>
                  <a:lnTo>
                    <a:pt x="472" y="617"/>
                  </a:lnTo>
                  <a:lnTo>
                    <a:pt x="472" y="617"/>
                  </a:lnTo>
                  <a:lnTo>
                    <a:pt x="472" y="616"/>
                  </a:lnTo>
                  <a:close/>
                  <a:moveTo>
                    <a:pt x="379" y="612"/>
                  </a:moveTo>
                  <a:lnTo>
                    <a:pt x="379" y="612"/>
                  </a:lnTo>
                  <a:lnTo>
                    <a:pt x="383" y="616"/>
                  </a:lnTo>
                  <a:lnTo>
                    <a:pt x="384" y="617"/>
                  </a:lnTo>
                  <a:lnTo>
                    <a:pt x="387" y="620"/>
                  </a:lnTo>
                  <a:lnTo>
                    <a:pt x="388" y="620"/>
                  </a:lnTo>
                  <a:lnTo>
                    <a:pt x="386" y="616"/>
                  </a:lnTo>
                  <a:lnTo>
                    <a:pt x="383" y="613"/>
                  </a:lnTo>
                  <a:lnTo>
                    <a:pt x="379" y="612"/>
                  </a:lnTo>
                  <a:close/>
                  <a:moveTo>
                    <a:pt x="439" y="552"/>
                  </a:moveTo>
                  <a:lnTo>
                    <a:pt x="436" y="554"/>
                  </a:lnTo>
                  <a:lnTo>
                    <a:pt x="431" y="558"/>
                  </a:lnTo>
                  <a:lnTo>
                    <a:pt x="426" y="562"/>
                  </a:lnTo>
                  <a:lnTo>
                    <a:pt x="420" y="564"/>
                  </a:lnTo>
                  <a:lnTo>
                    <a:pt x="415" y="567"/>
                  </a:lnTo>
                  <a:lnTo>
                    <a:pt x="418" y="567"/>
                  </a:lnTo>
                  <a:lnTo>
                    <a:pt x="423" y="564"/>
                  </a:lnTo>
                  <a:lnTo>
                    <a:pt x="427" y="562"/>
                  </a:lnTo>
                  <a:lnTo>
                    <a:pt x="431" y="559"/>
                  </a:lnTo>
                  <a:lnTo>
                    <a:pt x="435" y="555"/>
                  </a:lnTo>
                  <a:lnTo>
                    <a:pt x="439" y="552"/>
                  </a:lnTo>
                  <a:close/>
                  <a:moveTo>
                    <a:pt x="352" y="509"/>
                  </a:moveTo>
                  <a:lnTo>
                    <a:pt x="352" y="509"/>
                  </a:lnTo>
                  <a:lnTo>
                    <a:pt x="352" y="510"/>
                  </a:lnTo>
                  <a:lnTo>
                    <a:pt x="352" y="509"/>
                  </a:lnTo>
                  <a:close/>
                  <a:moveTo>
                    <a:pt x="118" y="425"/>
                  </a:moveTo>
                  <a:lnTo>
                    <a:pt x="116" y="425"/>
                  </a:lnTo>
                  <a:lnTo>
                    <a:pt x="114" y="430"/>
                  </a:lnTo>
                  <a:lnTo>
                    <a:pt x="115" y="429"/>
                  </a:lnTo>
                  <a:lnTo>
                    <a:pt x="116" y="427"/>
                  </a:lnTo>
                  <a:lnTo>
                    <a:pt x="118" y="425"/>
                  </a:lnTo>
                  <a:close/>
                  <a:moveTo>
                    <a:pt x="123" y="361"/>
                  </a:moveTo>
                  <a:lnTo>
                    <a:pt x="123" y="361"/>
                  </a:lnTo>
                  <a:lnTo>
                    <a:pt x="123" y="361"/>
                  </a:lnTo>
                  <a:lnTo>
                    <a:pt x="123" y="361"/>
                  </a:lnTo>
                  <a:close/>
                  <a:moveTo>
                    <a:pt x="130" y="350"/>
                  </a:moveTo>
                  <a:lnTo>
                    <a:pt x="130" y="351"/>
                  </a:lnTo>
                  <a:lnTo>
                    <a:pt x="130" y="350"/>
                  </a:lnTo>
                  <a:lnTo>
                    <a:pt x="130" y="350"/>
                  </a:lnTo>
                  <a:close/>
                  <a:moveTo>
                    <a:pt x="148" y="339"/>
                  </a:moveTo>
                  <a:lnTo>
                    <a:pt x="147" y="341"/>
                  </a:lnTo>
                  <a:lnTo>
                    <a:pt x="146" y="341"/>
                  </a:lnTo>
                  <a:lnTo>
                    <a:pt x="146" y="342"/>
                  </a:lnTo>
                  <a:lnTo>
                    <a:pt x="148" y="339"/>
                  </a:lnTo>
                  <a:close/>
                  <a:moveTo>
                    <a:pt x="148" y="339"/>
                  </a:moveTo>
                  <a:lnTo>
                    <a:pt x="148" y="339"/>
                  </a:lnTo>
                  <a:lnTo>
                    <a:pt x="146" y="342"/>
                  </a:lnTo>
                  <a:lnTo>
                    <a:pt x="146" y="343"/>
                  </a:lnTo>
                  <a:lnTo>
                    <a:pt x="148" y="339"/>
                  </a:lnTo>
                  <a:close/>
                  <a:moveTo>
                    <a:pt x="137" y="311"/>
                  </a:moveTo>
                  <a:lnTo>
                    <a:pt x="133" y="315"/>
                  </a:lnTo>
                  <a:lnTo>
                    <a:pt x="132" y="317"/>
                  </a:lnTo>
                  <a:lnTo>
                    <a:pt x="136" y="314"/>
                  </a:lnTo>
                  <a:lnTo>
                    <a:pt x="137" y="311"/>
                  </a:lnTo>
                  <a:close/>
                  <a:moveTo>
                    <a:pt x="134" y="310"/>
                  </a:moveTo>
                  <a:lnTo>
                    <a:pt x="132" y="315"/>
                  </a:lnTo>
                  <a:lnTo>
                    <a:pt x="133" y="312"/>
                  </a:lnTo>
                  <a:lnTo>
                    <a:pt x="134" y="310"/>
                  </a:lnTo>
                  <a:close/>
                  <a:moveTo>
                    <a:pt x="141" y="302"/>
                  </a:moveTo>
                  <a:lnTo>
                    <a:pt x="136" y="310"/>
                  </a:lnTo>
                  <a:lnTo>
                    <a:pt x="134" y="311"/>
                  </a:lnTo>
                  <a:lnTo>
                    <a:pt x="138" y="307"/>
                  </a:lnTo>
                  <a:lnTo>
                    <a:pt x="141" y="302"/>
                  </a:lnTo>
                  <a:close/>
                  <a:moveTo>
                    <a:pt x="145" y="292"/>
                  </a:moveTo>
                  <a:lnTo>
                    <a:pt x="137" y="297"/>
                  </a:lnTo>
                  <a:lnTo>
                    <a:pt x="129" y="307"/>
                  </a:lnTo>
                  <a:lnTo>
                    <a:pt x="134" y="302"/>
                  </a:lnTo>
                  <a:lnTo>
                    <a:pt x="139" y="297"/>
                  </a:lnTo>
                  <a:lnTo>
                    <a:pt x="141" y="294"/>
                  </a:lnTo>
                  <a:lnTo>
                    <a:pt x="141" y="297"/>
                  </a:lnTo>
                  <a:lnTo>
                    <a:pt x="145" y="293"/>
                  </a:lnTo>
                  <a:lnTo>
                    <a:pt x="145" y="292"/>
                  </a:lnTo>
                  <a:close/>
                  <a:moveTo>
                    <a:pt x="348" y="206"/>
                  </a:moveTo>
                  <a:lnTo>
                    <a:pt x="347" y="208"/>
                  </a:lnTo>
                  <a:lnTo>
                    <a:pt x="347" y="208"/>
                  </a:lnTo>
                  <a:lnTo>
                    <a:pt x="348" y="210"/>
                  </a:lnTo>
                  <a:lnTo>
                    <a:pt x="348" y="206"/>
                  </a:lnTo>
                  <a:close/>
                  <a:moveTo>
                    <a:pt x="351" y="201"/>
                  </a:moveTo>
                  <a:lnTo>
                    <a:pt x="350" y="203"/>
                  </a:lnTo>
                  <a:lnTo>
                    <a:pt x="350" y="205"/>
                  </a:lnTo>
                  <a:lnTo>
                    <a:pt x="351" y="201"/>
                  </a:lnTo>
                  <a:close/>
                  <a:moveTo>
                    <a:pt x="368" y="191"/>
                  </a:moveTo>
                  <a:lnTo>
                    <a:pt x="366" y="192"/>
                  </a:lnTo>
                  <a:lnTo>
                    <a:pt x="366" y="196"/>
                  </a:lnTo>
                  <a:lnTo>
                    <a:pt x="368" y="191"/>
                  </a:lnTo>
                  <a:close/>
                  <a:moveTo>
                    <a:pt x="453" y="126"/>
                  </a:moveTo>
                  <a:lnTo>
                    <a:pt x="453" y="126"/>
                  </a:lnTo>
                  <a:lnTo>
                    <a:pt x="453" y="128"/>
                  </a:lnTo>
                  <a:lnTo>
                    <a:pt x="453" y="126"/>
                  </a:lnTo>
                  <a:close/>
                  <a:moveTo>
                    <a:pt x="440" y="67"/>
                  </a:moveTo>
                  <a:lnTo>
                    <a:pt x="440" y="67"/>
                  </a:lnTo>
                  <a:lnTo>
                    <a:pt x="440" y="70"/>
                  </a:lnTo>
                  <a:lnTo>
                    <a:pt x="439" y="71"/>
                  </a:lnTo>
                  <a:lnTo>
                    <a:pt x="439" y="71"/>
                  </a:lnTo>
                  <a:lnTo>
                    <a:pt x="439" y="71"/>
                  </a:lnTo>
                  <a:lnTo>
                    <a:pt x="439" y="75"/>
                  </a:lnTo>
                  <a:lnTo>
                    <a:pt x="439" y="76"/>
                  </a:lnTo>
                  <a:lnTo>
                    <a:pt x="439" y="77"/>
                  </a:lnTo>
                  <a:lnTo>
                    <a:pt x="440" y="76"/>
                  </a:lnTo>
                  <a:lnTo>
                    <a:pt x="440" y="71"/>
                  </a:lnTo>
                  <a:lnTo>
                    <a:pt x="440" y="67"/>
                  </a:lnTo>
                  <a:close/>
                  <a:moveTo>
                    <a:pt x="360" y="0"/>
                  </a:moveTo>
                  <a:lnTo>
                    <a:pt x="375" y="1"/>
                  </a:lnTo>
                  <a:lnTo>
                    <a:pt x="390" y="8"/>
                  </a:lnTo>
                  <a:lnTo>
                    <a:pt x="391" y="8"/>
                  </a:lnTo>
                  <a:lnTo>
                    <a:pt x="392" y="9"/>
                  </a:lnTo>
                  <a:lnTo>
                    <a:pt x="396" y="10"/>
                  </a:lnTo>
                  <a:lnTo>
                    <a:pt x="401" y="11"/>
                  </a:lnTo>
                  <a:lnTo>
                    <a:pt x="405" y="14"/>
                  </a:lnTo>
                  <a:lnTo>
                    <a:pt x="408" y="15"/>
                  </a:lnTo>
                  <a:lnTo>
                    <a:pt x="409" y="17"/>
                  </a:lnTo>
                  <a:lnTo>
                    <a:pt x="414" y="19"/>
                  </a:lnTo>
                  <a:lnTo>
                    <a:pt x="418" y="23"/>
                  </a:lnTo>
                  <a:lnTo>
                    <a:pt x="420" y="26"/>
                  </a:lnTo>
                  <a:lnTo>
                    <a:pt x="422" y="29"/>
                  </a:lnTo>
                  <a:lnTo>
                    <a:pt x="426" y="32"/>
                  </a:lnTo>
                  <a:lnTo>
                    <a:pt x="428" y="36"/>
                  </a:lnTo>
                  <a:lnTo>
                    <a:pt x="431" y="39"/>
                  </a:lnTo>
                  <a:lnTo>
                    <a:pt x="435" y="44"/>
                  </a:lnTo>
                  <a:lnTo>
                    <a:pt x="439" y="50"/>
                  </a:lnTo>
                  <a:lnTo>
                    <a:pt x="441" y="57"/>
                  </a:lnTo>
                  <a:lnTo>
                    <a:pt x="442" y="64"/>
                  </a:lnTo>
                  <a:lnTo>
                    <a:pt x="442" y="68"/>
                  </a:lnTo>
                  <a:lnTo>
                    <a:pt x="442" y="72"/>
                  </a:lnTo>
                  <a:lnTo>
                    <a:pt x="444" y="71"/>
                  </a:lnTo>
                  <a:lnTo>
                    <a:pt x="444" y="71"/>
                  </a:lnTo>
                  <a:lnTo>
                    <a:pt x="444" y="71"/>
                  </a:lnTo>
                  <a:lnTo>
                    <a:pt x="444" y="73"/>
                  </a:lnTo>
                  <a:lnTo>
                    <a:pt x="444" y="76"/>
                  </a:lnTo>
                  <a:lnTo>
                    <a:pt x="445" y="76"/>
                  </a:lnTo>
                  <a:lnTo>
                    <a:pt x="445" y="75"/>
                  </a:lnTo>
                  <a:lnTo>
                    <a:pt x="445" y="79"/>
                  </a:lnTo>
                  <a:lnTo>
                    <a:pt x="444" y="81"/>
                  </a:lnTo>
                  <a:lnTo>
                    <a:pt x="444" y="85"/>
                  </a:lnTo>
                  <a:lnTo>
                    <a:pt x="442" y="86"/>
                  </a:lnTo>
                  <a:lnTo>
                    <a:pt x="449" y="95"/>
                  </a:lnTo>
                  <a:lnTo>
                    <a:pt x="454" y="104"/>
                  </a:lnTo>
                  <a:lnTo>
                    <a:pt x="454" y="104"/>
                  </a:lnTo>
                  <a:lnTo>
                    <a:pt x="457" y="107"/>
                  </a:lnTo>
                  <a:lnTo>
                    <a:pt x="458" y="111"/>
                  </a:lnTo>
                  <a:lnTo>
                    <a:pt x="459" y="115"/>
                  </a:lnTo>
                  <a:lnTo>
                    <a:pt x="458" y="119"/>
                  </a:lnTo>
                  <a:lnTo>
                    <a:pt x="458" y="121"/>
                  </a:lnTo>
                  <a:lnTo>
                    <a:pt x="455" y="124"/>
                  </a:lnTo>
                  <a:lnTo>
                    <a:pt x="454" y="126"/>
                  </a:lnTo>
                  <a:lnTo>
                    <a:pt x="453" y="126"/>
                  </a:lnTo>
                  <a:lnTo>
                    <a:pt x="453" y="128"/>
                  </a:lnTo>
                  <a:lnTo>
                    <a:pt x="455" y="132"/>
                  </a:lnTo>
                  <a:lnTo>
                    <a:pt x="457" y="133"/>
                  </a:lnTo>
                  <a:lnTo>
                    <a:pt x="457" y="132"/>
                  </a:lnTo>
                  <a:lnTo>
                    <a:pt x="457" y="132"/>
                  </a:lnTo>
                  <a:lnTo>
                    <a:pt x="457" y="133"/>
                  </a:lnTo>
                  <a:lnTo>
                    <a:pt x="458" y="134"/>
                  </a:lnTo>
                  <a:lnTo>
                    <a:pt x="459" y="137"/>
                  </a:lnTo>
                  <a:lnTo>
                    <a:pt x="460" y="139"/>
                  </a:lnTo>
                  <a:lnTo>
                    <a:pt x="460" y="143"/>
                  </a:lnTo>
                  <a:lnTo>
                    <a:pt x="460" y="146"/>
                  </a:lnTo>
                  <a:lnTo>
                    <a:pt x="459" y="148"/>
                  </a:lnTo>
                  <a:lnTo>
                    <a:pt x="458" y="148"/>
                  </a:lnTo>
                  <a:lnTo>
                    <a:pt x="460" y="150"/>
                  </a:lnTo>
                  <a:lnTo>
                    <a:pt x="459" y="152"/>
                  </a:lnTo>
                  <a:lnTo>
                    <a:pt x="458" y="155"/>
                  </a:lnTo>
                  <a:lnTo>
                    <a:pt x="460" y="159"/>
                  </a:lnTo>
                  <a:lnTo>
                    <a:pt x="462" y="161"/>
                  </a:lnTo>
                  <a:lnTo>
                    <a:pt x="462" y="166"/>
                  </a:lnTo>
                  <a:lnTo>
                    <a:pt x="460" y="170"/>
                  </a:lnTo>
                  <a:lnTo>
                    <a:pt x="454" y="172"/>
                  </a:lnTo>
                  <a:lnTo>
                    <a:pt x="448" y="170"/>
                  </a:lnTo>
                  <a:lnTo>
                    <a:pt x="448" y="172"/>
                  </a:lnTo>
                  <a:lnTo>
                    <a:pt x="448" y="172"/>
                  </a:lnTo>
                  <a:lnTo>
                    <a:pt x="449" y="172"/>
                  </a:lnTo>
                  <a:lnTo>
                    <a:pt x="448" y="172"/>
                  </a:lnTo>
                  <a:lnTo>
                    <a:pt x="446" y="174"/>
                  </a:lnTo>
                  <a:lnTo>
                    <a:pt x="446" y="174"/>
                  </a:lnTo>
                  <a:lnTo>
                    <a:pt x="446" y="177"/>
                  </a:lnTo>
                  <a:lnTo>
                    <a:pt x="446" y="177"/>
                  </a:lnTo>
                  <a:lnTo>
                    <a:pt x="446" y="177"/>
                  </a:lnTo>
                  <a:lnTo>
                    <a:pt x="445" y="175"/>
                  </a:lnTo>
                  <a:lnTo>
                    <a:pt x="444" y="177"/>
                  </a:lnTo>
                  <a:lnTo>
                    <a:pt x="444" y="177"/>
                  </a:lnTo>
                  <a:lnTo>
                    <a:pt x="444" y="177"/>
                  </a:lnTo>
                  <a:lnTo>
                    <a:pt x="442" y="178"/>
                  </a:lnTo>
                  <a:lnTo>
                    <a:pt x="446" y="181"/>
                  </a:lnTo>
                  <a:lnTo>
                    <a:pt x="444" y="179"/>
                  </a:lnTo>
                  <a:lnTo>
                    <a:pt x="442" y="178"/>
                  </a:lnTo>
                  <a:lnTo>
                    <a:pt x="439" y="181"/>
                  </a:lnTo>
                  <a:lnTo>
                    <a:pt x="441" y="183"/>
                  </a:lnTo>
                  <a:lnTo>
                    <a:pt x="439" y="181"/>
                  </a:lnTo>
                  <a:lnTo>
                    <a:pt x="437" y="182"/>
                  </a:lnTo>
                  <a:lnTo>
                    <a:pt x="436" y="182"/>
                  </a:lnTo>
                  <a:lnTo>
                    <a:pt x="437" y="183"/>
                  </a:lnTo>
                  <a:lnTo>
                    <a:pt x="437" y="186"/>
                  </a:lnTo>
                  <a:lnTo>
                    <a:pt x="437" y="187"/>
                  </a:lnTo>
                  <a:lnTo>
                    <a:pt x="437" y="187"/>
                  </a:lnTo>
                  <a:lnTo>
                    <a:pt x="436" y="186"/>
                  </a:lnTo>
                  <a:lnTo>
                    <a:pt x="435" y="183"/>
                  </a:lnTo>
                  <a:lnTo>
                    <a:pt x="435" y="183"/>
                  </a:lnTo>
                  <a:lnTo>
                    <a:pt x="433" y="183"/>
                  </a:lnTo>
                  <a:lnTo>
                    <a:pt x="436" y="187"/>
                  </a:lnTo>
                  <a:lnTo>
                    <a:pt x="433" y="183"/>
                  </a:lnTo>
                  <a:lnTo>
                    <a:pt x="431" y="184"/>
                  </a:lnTo>
                  <a:lnTo>
                    <a:pt x="431" y="186"/>
                  </a:lnTo>
                  <a:lnTo>
                    <a:pt x="430" y="184"/>
                  </a:lnTo>
                  <a:lnTo>
                    <a:pt x="431" y="190"/>
                  </a:lnTo>
                  <a:lnTo>
                    <a:pt x="430" y="184"/>
                  </a:lnTo>
                  <a:lnTo>
                    <a:pt x="428" y="184"/>
                  </a:lnTo>
                  <a:lnTo>
                    <a:pt x="428" y="186"/>
                  </a:lnTo>
                  <a:lnTo>
                    <a:pt x="428" y="184"/>
                  </a:lnTo>
                  <a:lnTo>
                    <a:pt x="426" y="186"/>
                  </a:lnTo>
                  <a:lnTo>
                    <a:pt x="427" y="188"/>
                  </a:lnTo>
                  <a:lnTo>
                    <a:pt x="427" y="190"/>
                  </a:lnTo>
                  <a:lnTo>
                    <a:pt x="427" y="190"/>
                  </a:lnTo>
                  <a:lnTo>
                    <a:pt x="427" y="190"/>
                  </a:lnTo>
                  <a:lnTo>
                    <a:pt x="426" y="190"/>
                  </a:lnTo>
                  <a:lnTo>
                    <a:pt x="424" y="188"/>
                  </a:lnTo>
                  <a:lnTo>
                    <a:pt x="422" y="186"/>
                  </a:lnTo>
                  <a:lnTo>
                    <a:pt x="422" y="187"/>
                  </a:lnTo>
                  <a:lnTo>
                    <a:pt x="422" y="188"/>
                  </a:lnTo>
                  <a:lnTo>
                    <a:pt x="422" y="190"/>
                  </a:lnTo>
                  <a:lnTo>
                    <a:pt x="422" y="190"/>
                  </a:lnTo>
                  <a:lnTo>
                    <a:pt x="420" y="190"/>
                  </a:lnTo>
                  <a:lnTo>
                    <a:pt x="423" y="193"/>
                  </a:lnTo>
                  <a:lnTo>
                    <a:pt x="426" y="196"/>
                  </a:lnTo>
                  <a:lnTo>
                    <a:pt x="427" y="199"/>
                  </a:lnTo>
                  <a:lnTo>
                    <a:pt x="428" y="200"/>
                  </a:lnTo>
                  <a:lnTo>
                    <a:pt x="428" y="200"/>
                  </a:lnTo>
                  <a:lnTo>
                    <a:pt x="428" y="200"/>
                  </a:lnTo>
                  <a:lnTo>
                    <a:pt x="426" y="199"/>
                  </a:lnTo>
                  <a:lnTo>
                    <a:pt x="423" y="196"/>
                  </a:lnTo>
                  <a:lnTo>
                    <a:pt x="419" y="193"/>
                  </a:lnTo>
                  <a:lnTo>
                    <a:pt x="417" y="190"/>
                  </a:lnTo>
                  <a:lnTo>
                    <a:pt x="414" y="187"/>
                  </a:lnTo>
                  <a:lnTo>
                    <a:pt x="415" y="191"/>
                  </a:lnTo>
                  <a:lnTo>
                    <a:pt x="418" y="195"/>
                  </a:lnTo>
                  <a:lnTo>
                    <a:pt x="418" y="196"/>
                  </a:lnTo>
                  <a:lnTo>
                    <a:pt x="419" y="197"/>
                  </a:lnTo>
                  <a:lnTo>
                    <a:pt x="418" y="197"/>
                  </a:lnTo>
                  <a:lnTo>
                    <a:pt x="417" y="196"/>
                  </a:lnTo>
                  <a:lnTo>
                    <a:pt x="414" y="195"/>
                  </a:lnTo>
                  <a:lnTo>
                    <a:pt x="410" y="192"/>
                  </a:lnTo>
                  <a:lnTo>
                    <a:pt x="408" y="190"/>
                  </a:lnTo>
                  <a:lnTo>
                    <a:pt x="408" y="191"/>
                  </a:lnTo>
                  <a:lnTo>
                    <a:pt x="409" y="191"/>
                  </a:lnTo>
                  <a:lnTo>
                    <a:pt x="411" y="193"/>
                  </a:lnTo>
                  <a:lnTo>
                    <a:pt x="413" y="196"/>
                  </a:lnTo>
                  <a:lnTo>
                    <a:pt x="415" y="197"/>
                  </a:lnTo>
                  <a:lnTo>
                    <a:pt x="414" y="197"/>
                  </a:lnTo>
                  <a:lnTo>
                    <a:pt x="413" y="197"/>
                  </a:lnTo>
                  <a:lnTo>
                    <a:pt x="409" y="196"/>
                  </a:lnTo>
                  <a:lnTo>
                    <a:pt x="406" y="195"/>
                  </a:lnTo>
                  <a:lnTo>
                    <a:pt x="404" y="192"/>
                  </a:lnTo>
                  <a:lnTo>
                    <a:pt x="405" y="193"/>
                  </a:lnTo>
                  <a:lnTo>
                    <a:pt x="405" y="195"/>
                  </a:lnTo>
                  <a:lnTo>
                    <a:pt x="405" y="195"/>
                  </a:lnTo>
                  <a:lnTo>
                    <a:pt x="404" y="193"/>
                  </a:lnTo>
                  <a:lnTo>
                    <a:pt x="402" y="192"/>
                  </a:lnTo>
                  <a:lnTo>
                    <a:pt x="400" y="191"/>
                  </a:lnTo>
                  <a:lnTo>
                    <a:pt x="397" y="188"/>
                  </a:lnTo>
                  <a:lnTo>
                    <a:pt x="399" y="191"/>
                  </a:lnTo>
                  <a:lnTo>
                    <a:pt x="400" y="193"/>
                  </a:lnTo>
                  <a:lnTo>
                    <a:pt x="401" y="195"/>
                  </a:lnTo>
                  <a:lnTo>
                    <a:pt x="401" y="196"/>
                  </a:lnTo>
                  <a:lnTo>
                    <a:pt x="400" y="195"/>
                  </a:lnTo>
                  <a:lnTo>
                    <a:pt x="399" y="193"/>
                  </a:lnTo>
                  <a:lnTo>
                    <a:pt x="397" y="192"/>
                  </a:lnTo>
                  <a:lnTo>
                    <a:pt x="395" y="190"/>
                  </a:lnTo>
                  <a:lnTo>
                    <a:pt x="392" y="186"/>
                  </a:lnTo>
                  <a:lnTo>
                    <a:pt x="392" y="186"/>
                  </a:lnTo>
                  <a:lnTo>
                    <a:pt x="391" y="186"/>
                  </a:lnTo>
                  <a:lnTo>
                    <a:pt x="391" y="186"/>
                  </a:lnTo>
                  <a:lnTo>
                    <a:pt x="393" y="191"/>
                  </a:lnTo>
                  <a:lnTo>
                    <a:pt x="396" y="195"/>
                  </a:lnTo>
                  <a:lnTo>
                    <a:pt x="396" y="196"/>
                  </a:lnTo>
                  <a:lnTo>
                    <a:pt x="397" y="197"/>
                  </a:lnTo>
                  <a:lnTo>
                    <a:pt x="397" y="197"/>
                  </a:lnTo>
                  <a:lnTo>
                    <a:pt x="397" y="197"/>
                  </a:lnTo>
                  <a:lnTo>
                    <a:pt x="396" y="197"/>
                  </a:lnTo>
                  <a:lnTo>
                    <a:pt x="395" y="196"/>
                  </a:lnTo>
                  <a:lnTo>
                    <a:pt x="392" y="193"/>
                  </a:lnTo>
                  <a:lnTo>
                    <a:pt x="390" y="190"/>
                  </a:lnTo>
                  <a:lnTo>
                    <a:pt x="390" y="193"/>
                  </a:lnTo>
                  <a:lnTo>
                    <a:pt x="391" y="196"/>
                  </a:lnTo>
                  <a:lnTo>
                    <a:pt x="391" y="197"/>
                  </a:lnTo>
                  <a:lnTo>
                    <a:pt x="391" y="196"/>
                  </a:lnTo>
                  <a:lnTo>
                    <a:pt x="390" y="195"/>
                  </a:lnTo>
                  <a:lnTo>
                    <a:pt x="387" y="192"/>
                  </a:lnTo>
                  <a:lnTo>
                    <a:pt x="387" y="193"/>
                  </a:lnTo>
                  <a:lnTo>
                    <a:pt x="384" y="193"/>
                  </a:lnTo>
                  <a:lnTo>
                    <a:pt x="383" y="193"/>
                  </a:lnTo>
                  <a:lnTo>
                    <a:pt x="383" y="192"/>
                  </a:lnTo>
                  <a:lnTo>
                    <a:pt x="382" y="191"/>
                  </a:lnTo>
                  <a:lnTo>
                    <a:pt x="381" y="190"/>
                  </a:lnTo>
                  <a:lnTo>
                    <a:pt x="381" y="188"/>
                  </a:lnTo>
                  <a:lnTo>
                    <a:pt x="379" y="188"/>
                  </a:lnTo>
                  <a:lnTo>
                    <a:pt x="379" y="187"/>
                  </a:lnTo>
                  <a:lnTo>
                    <a:pt x="379" y="187"/>
                  </a:lnTo>
                  <a:lnTo>
                    <a:pt x="377" y="183"/>
                  </a:lnTo>
                  <a:lnTo>
                    <a:pt x="378" y="186"/>
                  </a:lnTo>
                  <a:lnTo>
                    <a:pt x="378" y="186"/>
                  </a:lnTo>
                  <a:lnTo>
                    <a:pt x="377" y="184"/>
                  </a:lnTo>
                  <a:lnTo>
                    <a:pt x="378" y="187"/>
                  </a:lnTo>
                  <a:lnTo>
                    <a:pt x="378" y="188"/>
                  </a:lnTo>
                  <a:lnTo>
                    <a:pt x="379" y="190"/>
                  </a:lnTo>
                  <a:lnTo>
                    <a:pt x="378" y="188"/>
                  </a:lnTo>
                  <a:lnTo>
                    <a:pt x="378" y="188"/>
                  </a:lnTo>
                  <a:lnTo>
                    <a:pt x="375" y="187"/>
                  </a:lnTo>
                  <a:lnTo>
                    <a:pt x="377" y="188"/>
                  </a:lnTo>
                  <a:lnTo>
                    <a:pt x="384" y="205"/>
                  </a:lnTo>
                  <a:lnTo>
                    <a:pt x="383" y="205"/>
                  </a:lnTo>
                  <a:lnTo>
                    <a:pt x="382" y="205"/>
                  </a:lnTo>
                  <a:lnTo>
                    <a:pt x="382" y="203"/>
                  </a:lnTo>
                  <a:lnTo>
                    <a:pt x="379" y="199"/>
                  </a:lnTo>
                  <a:lnTo>
                    <a:pt x="378" y="193"/>
                  </a:lnTo>
                  <a:lnTo>
                    <a:pt x="378" y="192"/>
                  </a:lnTo>
                  <a:lnTo>
                    <a:pt x="379" y="200"/>
                  </a:lnTo>
                  <a:lnTo>
                    <a:pt x="379" y="206"/>
                  </a:lnTo>
                  <a:lnTo>
                    <a:pt x="374" y="201"/>
                  </a:lnTo>
                  <a:lnTo>
                    <a:pt x="372" y="193"/>
                  </a:lnTo>
                  <a:lnTo>
                    <a:pt x="372" y="199"/>
                  </a:lnTo>
                  <a:lnTo>
                    <a:pt x="372" y="212"/>
                  </a:lnTo>
                  <a:lnTo>
                    <a:pt x="369" y="190"/>
                  </a:lnTo>
                  <a:lnTo>
                    <a:pt x="368" y="190"/>
                  </a:lnTo>
                  <a:lnTo>
                    <a:pt x="370" y="205"/>
                  </a:lnTo>
                  <a:lnTo>
                    <a:pt x="368" y="204"/>
                  </a:lnTo>
                  <a:lnTo>
                    <a:pt x="366" y="203"/>
                  </a:lnTo>
                  <a:lnTo>
                    <a:pt x="365" y="200"/>
                  </a:lnTo>
                  <a:lnTo>
                    <a:pt x="364" y="205"/>
                  </a:lnTo>
                  <a:lnTo>
                    <a:pt x="362" y="210"/>
                  </a:lnTo>
                  <a:lnTo>
                    <a:pt x="362" y="204"/>
                  </a:lnTo>
                  <a:lnTo>
                    <a:pt x="361" y="209"/>
                  </a:lnTo>
                  <a:lnTo>
                    <a:pt x="359" y="213"/>
                  </a:lnTo>
                  <a:lnTo>
                    <a:pt x="360" y="196"/>
                  </a:lnTo>
                  <a:lnTo>
                    <a:pt x="360" y="196"/>
                  </a:lnTo>
                  <a:lnTo>
                    <a:pt x="357" y="200"/>
                  </a:lnTo>
                  <a:lnTo>
                    <a:pt x="353" y="203"/>
                  </a:lnTo>
                  <a:lnTo>
                    <a:pt x="355" y="199"/>
                  </a:lnTo>
                  <a:lnTo>
                    <a:pt x="355" y="199"/>
                  </a:lnTo>
                  <a:lnTo>
                    <a:pt x="353" y="201"/>
                  </a:lnTo>
                  <a:lnTo>
                    <a:pt x="353" y="201"/>
                  </a:lnTo>
                  <a:lnTo>
                    <a:pt x="355" y="204"/>
                  </a:lnTo>
                  <a:lnTo>
                    <a:pt x="355" y="205"/>
                  </a:lnTo>
                  <a:lnTo>
                    <a:pt x="356" y="205"/>
                  </a:lnTo>
                  <a:lnTo>
                    <a:pt x="355" y="205"/>
                  </a:lnTo>
                  <a:lnTo>
                    <a:pt x="355" y="204"/>
                  </a:lnTo>
                  <a:lnTo>
                    <a:pt x="352" y="203"/>
                  </a:lnTo>
                  <a:lnTo>
                    <a:pt x="351" y="208"/>
                  </a:lnTo>
                  <a:lnTo>
                    <a:pt x="351" y="209"/>
                  </a:lnTo>
                  <a:lnTo>
                    <a:pt x="351" y="209"/>
                  </a:lnTo>
                  <a:lnTo>
                    <a:pt x="351" y="209"/>
                  </a:lnTo>
                  <a:lnTo>
                    <a:pt x="352" y="222"/>
                  </a:lnTo>
                  <a:lnTo>
                    <a:pt x="351" y="218"/>
                  </a:lnTo>
                  <a:lnTo>
                    <a:pt x="350" y="217"/>
                  </a:lnTo>
                  <a:lnTo>
                    <a:pt x="348" y="215"/>
                  </a:lnTo>
                  <a:lnTo>
                    <a:pt x="346" y="212"/>
                  </a:lnTo>
                  <a:lnTo>
                    <a:pt x="344" y="214"/>
                  </a:lnTo>
                  <a:lnTo>
                    <a:pt x="347" y="219"/>
                  </a:lnTo>
                  <a:lnTo>
                    <a:pt x="348" y="223"/>
                  </a:lnTo>
                  <a:lnTo>
                    <a:pt x="350" y="227"/>
                  </a:lnTo>
                  <a:lnTo>
                    <a:pt x="350" y="230"/>
                  </a:lnTo>
                  <a:lnTo>
                    <a:pt x="350" y="230"/>
                  </a:lnTo>
                  <a:lnTo>
                    <a:pt x="350" y="230"/>
                  </a:lnTo>
                  <a:lnTo>
                    <a:pt x="348" y="228"/>
                  </a:lnTo>
                  <a:lnTo>
                    <a:pt x="347" y="226"/>
                  </a:lnTo>
                  <a:lnTo>
                    <a:pt x="346" y="222"/>
                  </a:lnTo>
                  <a:lnTo>
                    <a:pt x="347" y="227"/>
                  </a:lnTo>
                  <a:lnTo>
                    <a:pt x="348" y="232"/>
                  </a:lnTo>
                  <a:lnTo>
                    <a:pt x="351" y="239"/>
                  </a:lnTo>
                  <a:lnTo>
                    <a:pt x="362" y="266"/>
                  </a:lnTo>
                  <a:lnTo>
                    <a:pt x="364" y="271"/>
                  </a:lnTo>
                  <a:lnTo>
                    <a:pt x="366" y="274"/>
                  </a:lnTo>
                  <a:lnTo>
                    <a:pt x="366" y="277"/>
                  </a:lnTo>
                  <a:lnTo>
                    <a:pt x="368" y="279"/>
                  </a:lnTo>
                  <a:lnTo>
                    <a:pt x="368" y="280"/>
                  </a:lnTo>
                  <a:lnTo>
                    <a:pt x="368" y="279"/>
                  </a:lnTo>
                  <a:lnTo>
                    <a:pt x="366" y="279"/>
                  </a:lnTo>
                  <a:lnTo>
                    <a:pt x="365" y="276"/>
                  </a:lnTo>
                  <a:lnTo>
                    <a:pt x="368" y="286"/>
                  </a:lnTo>
                  <a:lnTo>
                    <a:pt x="369" y="297"/>
                  </a:lnTo>
                  <a:lnTo>
                    <a:pt x="372" y="299"/>
                  </a:lnTo>
                  <a:lnTo>
                    <a:pt x="373" y="303"/>
                  </a:lnTo>
                  <a:lnTo>
                    <a:pt x="374" y="306"/>
                  </a:lnTo>
                  <a:lnTo>
                    <a:pt x="375" y="308"/>
                  </a:lnTo>
                  <a:lnTo>
                    <a:pt x="375" y="308"/>
                  </a:lnTo>
                  <a:lnTo>
                    <a:pt x="372" y="305"/>
                  </a:lnTo>
                  <a:lnTo>
                    <a:pt x="375" y="311"/>
                  </a:lnTo>
                  <a:lnTo>
                    <a:pt x="377" y="316"/>
                  </a:lnTo>
                  <a:lnTo>
                    <a:pt x="378" y="319"/>
                  </a:lnTo>
                  <a:lnTo>
                    <a:pt x="379" y="321"/>
                  </a:lnTo>
                  <a:lnTo>
                    <a:pt x="379" y="321"/>
                  </a:lnTo>
                  <a:lnTo>
                    <a:pt x="378" y="321"/>
                  </a:lnTo>
                  <a:lnTo>
                    <a:pt x="378" y="320"/>
                  </a:lnTo>
                  <a:lnTo>
                    <a:pt x="375" y="317"/>
                  </a:lnTo>
                  <a:lnTo>
                    <a:pt x="378" y="323"/>
                  </a:lnTo>
                  <a:lnTo>
                    <a:pt x="381" y="328"/>
                  </a:lnTo>
                  <a:lnTo>
                    <a:pt x="381" y="330"/>
                  </a:lnTo>
                  <a:lnTo>
                    <a:pt x="381" y="332"/>
                  </a:lnTo>
                  <a:lnTo>
                    <a:pt x="381" y="333"/>
                  </a:lnTo>
                  <a:lnTo>
                    <a:pt x="381" y="333"/>
                  </a:lnTo>
                  <a:lnTo>
                    <a:pt x="379" y="330"/>
                  </a:lnTo>
                  <a:lnTo>
                    <a:pt x="378" y="329"/>
                  </a:lnTo>
                  <a:lnTo>
                    <a:pt x="375" y="324"/>
                  </a:lnTo>
                  <a:lnTo>
                    <a:pt x="372" y="319"/>
                  </a:lnTo>
                  <a:lnTo>
                    <a:pt x="372" y="317"/>
                  </a:lnTo>
                  <a:lnTo>
                    <a:pt x="374" y="324"/>
                  </a:lnTo>
                  <a:lnTo>
                    <a:pt x="377" y="329"/>
                  </a:lnTo>
                  <a:lnTo>
                    <a:pt x="378" y="334"/>
                  </a:lnTo>
                  <a:lnTo>
                    <a:pt x="381" y="338"/>
                  </a:lnTo>
                  <a:lnTo>
                    <a:pt x="381" y="342"/>
                  </a:lnTo>
                  <a:lnTo>
                    <a:pt x="382" y="345"/>
                  </a:lnTo>
                  <a:lnTo>
                    <a:pt x="382" y="345"/>
                  </a:lnTo>
                  <a:lnTo>
                    <a:pt x="382" y="345"/>
                  </a:lnTo>
                  <a:lnTo>
                    <a:pt x="381" y="343"/>
                  </a:lnTo>
                  <a:lnTo>
                    <a:pt x="378" y="341"/>
                  </a:lnTo>
                  <a:lnTo>
                    <a:pt x="377" y="337"/>
                  </a:lnTo>
                  <a:lnTo>
                    <a:pt x="377" y="346"/>
                  </a:lnTo>
                  <a:lnTo>
                    <a:pt x="378" y="350"/>
                  </a:lnTo>
                  <a:lnTo>
                    <a:pt x="379" y="352"/>
                  </a:lnTo>
                  <a:lnTo>
                    <a:pt x="379" y="355"/>
                  </a:lnTo>
                  <a:lnTo>
                    <a:pt x="379" y="355"/>
                  </a:lnTo>
                  <a:lnTo>
                    <a:pt x="379" y="355"/>
                  </a:lnTo>
                  <a:lnTo>
                    <a:pt x="379" y="354"/>
                  </a:lnTo>
                  <a:lnTo>
                    <a:pt x="377" y="352"/>
                  </a:lnTo>
                  <a:lnTo>
                    <a:pt x="377" y="352"/>
                  </a:lnTo>
                  <a:lnTo>
                    <a:pt x="377" y="354"/>
                  </a:lnTo>
                  <a:lnTo>
                    <a:pt x="378" y="356"/>
                  </a:lnTo>
                  <a:lnTo>
                    <a:pt x="379" y="361"/>
                  </a:lnTo>
                  <a:lnTo>
                    <a:pt x="379" y="365"/>
                  </a:lnTo>
                  <a:lnTo>
                    <a:pt x="381" y="368"/>
                  </a:lnTo>
                  <a:lnTo>
                    <a:pt x="379" y="368"/>
                  </a:lnTo>
                  <a:lnTo>
                    <a:pt x="379" y="368"/>
                  </a:lnTo>
                  <a:lnTo>
                    <a:pt x="379" y="367"/>
                  </a:lnTo>
                  <a:lnTo>
                    <a:pt x="378" y="365"/>
                  </a:lnTo>
                  <a:lnTo>
                    <a:pt x="375" y="361"/>
                  </a:lnTo>
                  <a:lnTo>
                    <a:pt x="375" y="361"/>
                  </a:lnTo>
                  <a:lnTo>
                    <a:pt x="377" y="363"/>
                  </a:lnTo>
                  <a:lnTo>
                    <a:pt x="378" y="368"/>
                  </a:lnTo>
                  <a:lnTo>
                    <a:pt x="378" y="372"/>
                  </a:lnTo>
                  <a:lnTo>
                    <a:pt x="379" y="374"/>
                  </a:lnTo>
                  <a:lnTo>
                    <a:pt x="379" y="376"/>
                  </a:lnTo>
                  <a:lnTo>
                    <a:pt x="378" y="374"/>
                  </a:lnTo>
                  <a:lnTo>
                    <a:pt x="378" y="373"/>
                  </a:lnTo>
                  <a:lnTo>
                    <a:pt x="377" y="372"/>
                  </a:lnTo>
                  <a:lnTo>
                    <a:pt x="375" y="369"/>
                  </a:lnTo>
                  <a:lnTo>
                    <a:pt x="374" y="374"/>
                  </a:lnTo>
                  <a:lnTo>
                    <a:pt x="374" y="379"/>
                  </a:lnTo>
                  <a:lnTo>
                    <a:pt x="374" y="381"/>
                  </a:lnTo>
                  <a:lnTo>
                    <a:pt x="374" y="382"/>
                  </a:lnTo>
                  <a:lnTo>
                    <a:pt x="374" y="383"/>
                  </a:lnTo>
                  <a:lnTo>
                    <a:pt x="374" y="382"/>
                  </a:lnTo>
                  <a:lnTo>
                    <a:pt x="373" y="381"/>
                  </a:lnTo>
                  <a:lnTo>
                    <a:pt x="373" y="383"/>
                  </a:lnTo>
                  <a:lnTo>
                    <a:pt x="373" y="381"/>
                  </a:lnTo>
                  <a:lnTo>
                    <a:pt x="373" y="381"/>
                  </a:lnTo>
                  <a:lnTo>
                    <a:pt x="372" y="383"/>
                  </a:lnTo>
                  <a:lnTo>
                    <a:pt x="374" y="390"/>
                  </a:lnTo>
                  <a:lnTo>
                    <a:pt x="375" y="396"/>
                  </a:lnTo>
                  <a:lnTo>
                    <a:pt x="377" y="399"/>
                  </a:lnTo>
                  <a:lnTo>
                    <a:pt x="378" y="401"/>
                  </a:lnTo>
                  <a:lnTo>
                    <a:pt x="378" y="403"/>
                  </a:lnTo>
                  <a:lnTo>
                    <a:pt x="377" y="401"/>
                  </a:lnTo>
                  <a:lnTo>
                    <a:pt x="375" y="400"/>
                  </a:lnTo>
                  <a:lnTo>
                    <a:pt x="374" y="396"/>
                  </a:lnTo>
                  <a:lnTo>
                    <a:pt x="373" y="394"/>
                  </a:lnTo>
                  <a:lnTo>
                    <a:pt x="370" y="391"/>
                  </a:lnTo>
                  <a:lnTo>
                    <a:pt x="370" y="392"/>
                  </a:lnTo>
                  <a:lnTo>
                    <a:pt x="374" y="404"/>
                  </a:lnTo>
                  <a:lnTo>
                    <a:pt x="375" y="413"/>
                  </a:lnTo>
                  <a:lnTo>
                    <a:pt x="377" y="416"/>
                  </a:lnTo>
                  <a:lnTo>
                    <a:pt x="377" y="416"/>
                  </a:lnTo>
                  <a:lnTo>
                    <a:pt x="375" y="413"/>
                  </a:lnTo>
                  <a:lnTo>
                    <a:pt x="374" y="410"/>
                  </a:lnTo>
                  <a:lnTo>
                    <a:pt x="373" y="407"/>
                  </a:lnTo>
                  <a:lnTo>
                    <a:pt x="370" y="401"/>
                  </a:lnTo>
                  <a:lnTo>
                    <a:pt x="370" y="409"/>
                  </a:lnTo>
                  <a:lnTo>
                    <a:pt x="372" y="404"/>
                  </a:lnTo>
                  <a:lnTo>
                    <a:pt x="370" y="409"/>
                  </a:lnTo>
                  <a:lnTo>
                    <a:pt x="370" y="410"/>
                  </a:lnTo>
                  <a:lnTo>
                    <a:pt x="373" y="417"/>
                  </a:lnTo>
                  <a:lnTo>
                    <a:pt x="373" y="422"/>
                  </a:lnTo>
                  <a:lnTo>
                    <a:pt x="374" y="426"/>
                  </a:lnTo>
                  <a:lnTo>
                    <a:pt x="374" y="430"/>
                  </a:lnTo>
                  <a:lnTo>
                    <a:pt x="374" y="430"/>
                  </a:lnTo>
                  <a:lnTo>
                    <a:pt x="374" y="430"/>
                  </a:lnTo>
                  <a:lnTo>
                    <a:pt x="374" y="429"/>
                  </a:lnTo>
                  <a:lnTo>
                    <a:pt x="373" y="426"/>
                  </a:lnTo>
                  <a:lnTo>
                    <a:pt x="372" y="423"/>
                  </a:lnTo>
                  <a:lnTo>
                    <a:pt x="372" y="427"/>
                  </a:lnTo>
                  <a:lnTo>
                    <a:pt x="373" y="432"/>
                  </a:lnTo>
                  <a:lnTo>
                    <a:pt x="374" y="438"/>
                  </a:lnTo>
                  <a:lnTo>
                    <a:pt x="374" y="441"/>
                  </a:lnTo>
                  <a:lnTo>
                    <a:pt x="374" y="444"/>
                  </a:lnTo>
                  <a:lnTo>
                    <a:pt x="374" y="444"/>
                  </a:lnTo>
                  <a:lnTo>
                    <a:pt x="374" y="444"/>
                  </a:lnTo>
                  <a:lnTo>
                    <a:pt x="373" y="441"/>
                  </a:lnTo>
                  <a:lnTo>
                    <a:pt x="372" y="438"/>
                  </a:lnTo>
                  <a:lnTo>
                    <a:pt x="372" y="452"/>
                  </a:lnTo>
                  <a:lnTo>
                    <a:pt x="372" y="452"/>
                  </a:lnTo>
                  <a:lnTo>
                    <a:pt x="372" y="457"/>
                  </a:lnTo>
                  <a:lnTo>
                    <a:pt x="372" y="461"/>
                  </a:lnTo>
                  <a:lnTo>
                    <a:pt x="372" y="463"/>
                  </a:lnTo>
                  <a:lnTo>
                    <a:pt x="372" y="465"/>
                  </a:lnTo>
                  <a:lnTo>
                    <a:pt x="372" y="463"/>
                  </a:lnTo>
                  <a:lnTo>
                    <a:pt x="372" y="462"/>
                  </a:lnTo>
                  <a:lnTo>
                    <a:pt x="370" y="460"/>
                  </a:lnTo>
                  <a:lnTo>
                    <a:pt x="370" y="462"/>
                  </a:lnTo>
                  <a:lnTo>
                    <a:pt x="370" y="467"/>
                  </a:lnTo>
                  <a:lnTo>
                    <a:pt x="370" y="470"/>
                  </a:lnTo>
                  <a:lnTo>
                    <a:pt x="370" y="470"/>
                  </a:lnTo>
                  <a:lnTo>
                    <a:pt x="370" y="470"/>
                  </a:lnTo>
                  <a:lnTo>
                    <a:pt x="369" y="467"/>
                  </a:lnTo>
                  <a:lnTo>
                    <a:pt x="369" y="479"/>
                  </a:lnTo>
                  <a:lnTo>
                    <a:pt x="368" y="471"/>
                  </a:lnTo>
                  <a:lnTo>
                    <a:pt x="366" y="472"/>
                  </a:lnTo>
                  <a:lnTo>
                    <a:pt x="368" y="478"/>
                  </a:lnTo>
                  <a:lnTo>
                    <a:pt x="368" y="481"/>
                  </a:lnTo>
                  <a:lnTo>
                    <a:pt x="368" y="484"/>
                  </a:lnTo>
                  <a:lnTo>
                    <a:pt x="368" y="484"/>
                  </a:lnTo>
                  <a:lnTo>
                    <a:pt x="368" y="484"/>
                  </a:lnTo>
                  <a:lnTo>
                    <a:pt x="366" y="481"/>
                  </a:lnTo>
                  <a:lnTo>
                    <a:pt x="365" y="478"/>
                  </a:lnTo>
                  <a:lnTo>
                    <a:pt x="362" y="485"/>
                  </a:lnTo>
                  <a:lnTo>
                    <a:pt x="364" y="489"/>
                  </a:lnTo>
                  <a:lnTo>
                    <a:pt x="364" y="492"/>
                  </a:lnTo>
                  <a:lnTo>
                    <a:pt x="364" y="492"/>
                  </a:lnTo>
                  <a:lnTo>
                    <a:pt x="364" y="492"/>
                  </a:lnTo>
                  <a:lnTo>
                    <a:pt x="364" y="490"/>
                  </a:lnTo>
                  <a:lnTo>
                    <a:pt x="361" y="488"/>
                  </a:lnTo>
                  <a:lnTo>
                    <a:pt x="361" y="492"/>
                  </a:lnTo>
                  <a:lnTo>
                    <a:pt x="361" y="489"/>
                  </a:lnTo>
                  <a:lnTo>
                    <a:pt x="360" y="490"/>
                  </a:lnTo>
                  <a:lnTo>
                    <a:pt x="361" y="493"/>
                  </a:lnTo>
                  <a:lnTo>
                    <a:pt x="361" y="496"/>
                  </a:lnTo>
                  <a:lnTo>
                    <a:pt x="361" y="498"/>
                  </a:lnTo>
                  <a:lnTo>
                    <a:pt x="361" y="498"/>
                  </a:lnTo>
                  <a:lnTo>
                    <a:pt x="359" y="494"/>
                  </a:lnTo>
                  <a:lnTo>
                    <a:pt x="357" y="498"/>
                  </a:lnTo>
                  <a:lnTo>
                    <a:pt x="359" y="502"/>
                  </a:lnTo>
                  <a:lnTo>
                    <a:pt x="359" y="505"/>
                  </a:lnTo>
                  <a:lnTo>
                    <a:pt x="359" y="506"/>
                  </a:lnTo>
                  <a:lnTo>
                    <a:pt x="359" y="506"/>
                  </a:lnTo>
                  <a:lnTo>
                    <a:pt x="359" y="506"/>
                  </a:lnTo>
                  <a:lnTo>
                    <a:pt x="357" y="505"/>
                  </a:lnTo>
                  <a:lnTo>
                    <a:pt x="356" y="502"/>
                  </a:lnTo>
                  <a:lnTo>
                    <a:pt x="356" y="501"/>
                  </a:lnTo>
                  <a:lnTo>
                    <a:pt x="355" y="502"/>
                  </a:lnTo>
                  <a:lnTo>
                    <a:pt x="355" y="502"/>
                  </a:lnTo>
                  <a:lnTo>
                    <a:pt x="356" y="506"/>
                  </a:lnTo>
                  <a:lnTo>
                    <a:pt x="357" y="509"/>
                  </a:lnTo>
                  <a:lnTo>
                    <a:pt x="359" y="511"/>
                  </a:lnTo>
                  <a:lnTo>
                    <a:pt x="359" y="514"/>
                  </a:lnTo>
                  <a:lnTo>
                    <a:pt x="359" y="514"/>
                  </a:lnTo>
                  <a:lnTo>
                    <a:pt x="356" y="510"/>
                  </a:lnTo>
                  <a:lnTo>
                    <a:pt x="355" y="507"/>
                  </a:lnTo>
                  <a:lnTo>
                    <a:pt x="353" y="511"/>
                  </a:lnTo>
                  <a:lnTo>
                    <a:pt x="356" y="515"/>
                  </a:lnTo>
                  <a:lnTo>
                    <a:pt x="357" y="518"/>
                  </a:lnTo>
                  <a:lnTo>
                    <a:pt x="359" y="520"/>
                  </a:lnTo>
                  <a:lnTo>
                    <a:pt x="360" y="523"/>
                  </a:lnTo>
                  <a:lnTo>
                    <a:pt x="360" y="523"/>
                  </a:lnTo>
                  <a:lnTo>
                    <a:pt x="360" y="523"/>
                  </a:lnTo>
                  <a:lnTo>
                    <a:pt x="359" y="521"/>
                  </a:lnTo>
                  <a:lnTo>
                    <a:pt x="356" y="519"/>
                  </a:lnTo>
                  <a:lnTo>
                    <a:pt x="353" y="515"/>
                  </a:lnTo>
                  <a:lnTo>
                    <a:pt x="352" y="518"/>
                  </a:lnTo>
                  <a:lnTo>
                    <a:pt x="352" y="515"/>
                  </a:lnTo>
                  <a:lnTo>
                    <a:pt x="351" y="514"/>
                  </a:lnTo>
                  <a:lnTo>
                    <a:pt x="352" y="518"/>
                  </a:lnTo>
                  <a:lnTo>
                    <a:pt x="352" y="520"/>
                  </a:lnTo>
                  <a:lnTo>
                    <a:pt x="353" y="523"/>
                  </a:lnTo>
                  <a:lnTo>
                    <a:pt x="355" y="525"/>
                  </a:lnTo>
                  <a:lnTo>
                    <a:pt x="355" y="525"/>
                  </a:lnTo>
                  <a:lnTo>
                    <a:pt x="353" y="525"/>
                  </a:lnTo>
                  <a:lnTo>
                    <a:pt x="352" y="524"/>
                  </a:lnTo>
                  <a:lnTo>
                    <a:pt x="351" y="521"/>
                  </a:lnTo>
                  <a:lnTo>
                    <a:pt x="348" y="519"/>
                  </a:lnTo>
                  <a:lnTo>
                    <a:pt x="347" y="520"/>
                  </a:lnTo>
                  <a:lnTo>
                    <a:pt x="350" y="524"/>
                  </a:lnTo>
                  <a:lnTo>
                    <a:pt x="352" y="528"/>
                  </a:lnTo>
                  <a:lnTo>
                    <a:pt x="353" y="531"/>
                  </a:lnTo>
                  <a:lnTo>
                    <a:pt x="353" y="531"/>
                  </a:lnTo>
                  <a:lnTo>
                    <a:pt x="353" y="531"/>
                  </a:lnTo>
                  <a:lnTo>
                    <a:pt x="352" y="529"/>
                  </a:lnTo>
                  <a:lnTo>
                    <a:pt x="350" y="528"/>
                  </a:lnTo>
                  <a:lnTo>
                    <a:pt x="347" y="525"/>
                  </a:lnTo>
                  <a:lnTo>
                    <a:pt x="348" y="528"/>
                  </a:lnTo>
                  <a:lnTo>
                    <a:pt x="348" y="532"/>
                  </a:lnTo>
                  <a:lnTo>
                    <a:pt x="350" y="534"/>
                  </a:lnTo>
                  <a:lnTo>
                    <a:pt x="350" y="536"/>
                  </a:lnTo>
                  <a:lnTo>
                    <a:pt x="348" y="534"/>
                  </a:lnTo>
                  <a:lnTo>
                    <a:pt x="347" y="533"/>
                  </a:lnTo>
                  <a:lnTo>
                    <a:pt x="348" y="534"/>
                  </a:lnTo>
                  <a:lnTo>
                    <a:pt x="348" y="534"/>
                  </a:lnTo>
                  <a:lnTo>
                    <a:pt x="347" y="533"/>
                  </a:lnTo>
                  <a:lnTo>
                    <a:pt x="346" y="532"/>
                  </a:lnTo>
                  <a:lnTo>
                    <a:pt x="344" y="529"/>
                  </a:lnTo>
                  <a:lnTo>
                    <a:pt x="343" y="532"/>
                  </a:lnTo>
                  <a:lnTo>
                    <a:pt x="344" y="534"/>
                  </a:lnTo>
                  <a:lnTo>
                    <a:pt x="346" y="537"/>
                  </a:lnTo>
                  <a:lnTo>
                    <a:pt x="347" y="540"/>
                  </a:lnTo>
                  <a:lnTo>
                    <a:pt x="347" y="541"/>
                  </a:lnTo>
                  <a:lnTo>
                    <a:pt x="347" y="542"/>
                  </a:lnTo>
                  <a:lnTo>
                    <a:pt x="347" y="542"/>
                  </a:lnTo>
                  <a:lnTo>
                    <a:pt x="346" y="541"/>
                  </a:lnTo>
                  <a:lnTo>
                    <a:pt x="344" y="540"/>
                  </a:lnTo>
                  <a:lnTo>
                    <a:pt x="342" y="537"/>
                  </a:lnTo>
                  <a:lnTo>
                    <a:pt x="341" y="540"/>
                  </a:lnTo>
                  <a:lnTo>
                    <a:pt x="342" y="540"/>
                  </a:lnTo>
                  <a:lnTo>
                    <a:pt x="346" y="542"/>
                  </a:lnTo>
                  <a:lnTo>
                    <a:pt x="347" y="543"/>
                  </a:lnTo>
                  <a:lnTo>
                    <a:pt x="355" y="546"/>
                  </a:lnTo>
                  <a:lnTo>
                    <a:pt x="360" y="549"/>
                  </a:lnTo>
                  <a:lnTo>
                    <a:pt x="364" y="550"/>
                  </a:lnTo>
                  <a:lnTo>
                    <a:pt x="366" y="551"/>
                  </a:lnTo>
                  <a:lnTo>
                    <a:pt x="368" y="551"/>
                  </a:lnTo>
                  <a:lnTo>
                    <a:pt x="369" y="552"/>
                  </a:lnTo>
                  <a:lnTo>
                    <a:pt x="368" y="551"/>
                  </a:lnTo>
                  <a:lnTo>
                    <a:pt x="365" y="551"/>
                  </a:lnTo>
                  <a:lnTo>
                    <a:pt x="361" y="550"/>
                  </a:lnTo>
                  <a:lnTo>
                    <a:pt x="375" y="559"/>
                  </a:lnTo>
                  <a:lnTo>
                    <a:pt x="378" y="560"/>
                  </a:lnTo>
                  <a:lnTo>
                    <a:pt x="383" y="563"/>
                  </a:lnTo>
                  <a:lnTo>
                    <a:pt x="387" y="564"/>
                  </a:lnTo>
                  <a:lnTo>
                    <a:pt x="395" y="567"/>
                  </a:lnTo>
                  <a:lnTo>
                    <a:pt x="395" y="567"/>
                  </a:lnTo>
                  <a:lnTo>
                    <a:pt x="395" y="567"/>
                  </a:lnTo>
                  <a:lnTo>
                    <a:pt x="395" y="567"/>
                  </a:lnTo>
                  <a:lnTo>
                    <a:pt x="396" y="567"/>
                  </a:lnTo>
                  <a:lnTo>
                    <a:pt x="396" y="567"/>
                  </a:lnTo>
                  <a:lnTo>
                    <a:pt x="396" y="567"/>
                  </a:lnTo>
                  <a:lnTo>
                    <a:pt x="395" y="567"/>
                  </a:lnTo>
                  <a:lnTo>
                    <a:pt x="399" y="567"/>
                  </a:lnTo>
                  <a:lnTo>
                    <a:pt x="402" y="567"/>
                  </a:lnTo>
                  <a:lnTo>
                    <a:pt x="408" y="567"/>
                  </a:lnTo>
                  <a:lnTo>
                    <a:pt x="409" y="567"/>
                  </a:lnTo>
                  <a:lnTo>
                    <a:pt x="409" y="567"/>
                  </a:lnTo>
                  <a:lnTo>
                    <a:pt x="409" y="567"/>
                  </a:lnTo>
                  <a:lnTo>
                    <a:pt x="409" y="565"/>
                  </a:lnTo>
                  <a:lnTo>
                    <a:pt x="410" y="565"/>
                  </a:lnTo>
                  <a:lnTo>
                    <a:pt x="410" y="565"/>
                  </a:lnTo>
                  <a:lnTo>
                    <a:pt x="410" y="565"/>
                  </a:lnTo>
                  <a:lnTo>
                    <a:pt x="411" y="565"/>
                  </a:lnTo>
                  <a:lnTo>
                    <a:pt x="418" y="562"/>
                  </a:lnTo>
                  <a:lnTo>
                    <a:pt x="423" y="558"/>
                  </a:lnTo>
                  <a:lnTo>
                    <a:pt x="428" y="554"/>
                  </a:lnTo>
                  <a:lnTo>
                    <a:pt x="435" y="551"/>
                  </a:lnTo>
                  <a:lnTo>
                    <a:pt x="437" y="550"/>
                  </a:lnTo>
                  <a:lnTo>
                    <a:pt x="441" y="550"/>
                  </a:lnTo>
                  <a:lnTo>
                    <a:pt x="442" y="551"/>
                  </a:lnTo>
                  <a:lnTo>
                    <a:pt x="444" y="551"/>
                  </a:lnTo>
                  <a:lnTo>
                    <a:pt x="446" y="550"/>
                  </a:lnTo>
                  <a:lnTo>
                    <a:pt x="446" y="549"/>
                  </a:lnTo>
                  <a:lnTo>
                    <a:pt x="448" y="543"/>
                  </a:lnTo>
                  <a:lnTo>
                    <a:pt x="451" y="536"/>
                  </a:lnTo>
                  <a:lnTo>
                    <a:pt x="454" y="532"/>
                  </a:lnTo>
                  <a:lnTo>
                    <a:pt x="458" y="528"/>
                  </a:lnTo>
                  <a:lnTo>
                    <a:pt x="462" y="525"/>
                  </a:lnTo>
                  <a:lnTo>
                    <a:pt x="462" y="524"/>
                  </a:lnTo>
                  <a:lnTo>
                    <a:pt x="471" y="516"/>
                  </a:lnTo>
                  <a:lnTo>
                    <a:pt x="475" y="511"/>
                  </a:lnTo>
                  <a:lnTo>
                    <a:pt x="473" y="512"/>
                  </a:lnTo>
                  <a:lnTo>
                    <a:pt x="475" y="511"/>
                  </a:lnTo>
                  <a:lnTo>
                    <a:pt x="478" y="509"/>
                  </a:lnTo>
                  <a:lnTo>
                    <a:pt x="485" y="506"/>
                  </a:lnTo>
                  <a:lnTo>
                    <a:pt x="486" y="503"/>
                  </a:lnTo>
                  <a:lnTo>
                    <a:pt x="493" y="498"/>
                  </a:lnTo>
                  <a:lnTo>
                    <a:pt x="494" y="497"/>
                  </a:lnTo>
                  <a:lnTo>
                    <a:pt x="495" y="496"/>
                  </a:lnTo>
                  <a:lnTo>
                    <a:pt x="497" y="494"/>
                  </a:lnTo>
                  <a:lnTo>
                    <a:pt x="498" y="493"/>
                  </a:lnTo>
                  <a:lnTo>
                    <a:pt x="500" y="492"/>
                  </a:lnTo>
                  <a:lnTo>
                    <a:pt x="502" y="490"/>
                  </a:lnTo>
                  <a:lnTo>
                    <a:pt x="504" y="489"/>
                  </a:lnTo>
                  <a:lnTo>
                    <a:pt x="506" y="488"/>
                  </a:lnTo>
                  <a:lnTo>
                    <a:pt x="506" y="488"/>
                  </a:lnTo>
                  <a:lnTo>
                    <a:pt x="508" y="487"/>
                  </a:lnTo>
                  <a:lnTo>
                    <a:pt x="509" y="484"/>
                  </a:lnTo>
                  <a:lnTo>
                    <a:pt x="509" y="489"/>
                  </a:lnTo>
                  <a:lnTo>
                    <a:pt x="509" y="488"/>
                  </a:lnTo>
                  <a:lnTo>
                    <a:pt x="509" y="489"/>
                  </a:lnTo>
                  <a:lnTo>
                    <a:pt x="509" y="490"/>
                  </a:lnTo>
                  <a:lnTo>
                    <a:pt x="509" y="492"/>
                  </a:lnTo>
                  <a:lnTo>
                    <a:pt x="509" y="492"/>
                  </a:lnTo>
                  <a:lnTo>
                    <a:pt x="508" y="494"/>
                  </a:lnTo>
                  <a:lnTo>
                    <a:pt x="508" y="498"/>
                  </a:lnTo>
                  <a:lnTo>
                    <a:pt x="507" y="502"/>
                  </a:lnTo>
                  <a:lnTo>
                    <a:pt x="507" y="509"/>
                  </a:lnTo>
                  <a:lnTo>
                    <a:pt x="506" y="514"/>
                  </a:lnTo>
                  <a:lnTo>
                    <a:pt x="504" y="519"/>
                  </a:lnTo>
                  <a:lnTo>
                    <a:pt x="503" y="525"/>
                  </a:lnTo>
                  <a:lnTo>
                    <a:pt x="503" y="521"/>
                  </a:lnTo>
                  <a:lnTo>
                    <a:pt x="502" y="531"/>
                  </a:lnTo>
                  <a:lnTo>
                    <a:pt x="498" y="543"/>
                  </a:lnTo>
                  <a:lnTo>
                    <a:pt x="493" y="552"/>
                  </a:lnTo>
                  <a:lnTo>
                    <a:pt x="493" y="555"/>
                  </a:lnTo>
                  <a:lnTo>
                    <a:pt x="491" y="558"/>
                  </a:lnTo>
                  <a:lnTo>
                    <a:pt x="490" y="563"/>
                  </a:lnTo>
                  <a:lnTo>
                    <a:pt x="490" y="563"/>
                  </a:lnTo>
                  <a:lnTo>
                    <a:pt x="490" y="563"/>
                  </a:lnTo>
                  <a:lnTo>
                    <a:pt x="488" y="568"/>
                  </a:lnTo>
                  <a:lnTo>
                    <a:pt x="484" y="574"/>
                  </a:lnTo>
                  <a:lnTo>
                    <a:pt x="480" y="580"/>
                  </a:lnTo>
                  <a:lnTo>
                    <a:pt x="478" y="581"/>
                  </a:lnTo>
                  <a:lnTo>
                    <a:pt x="480" y="585"/>
                  </a:lnTo>
                  <a:lnTo>
                    <a:pt x="481" y="589"/>
                  </a:lnTo>
                  <a:lnTo>
                    <a:pt x="482" y="589"/>
                  </a:lnTo>
                  <a:lnTo>
                    <a:pt x="482" y="590"/>
                  </a:lnTo>
                  <a:lnTo>
                    <a:pt x="484" y="591"/>
                  </a:lnTo>
                  <a:lnTo>
                    <a:pt x="485" y="594"/>
                  </a:lnTo>
                  <a:lnTo>
                    <a:pt x="485" y="596"/>
                  </a:lnTo>
                  <a:lnTo>
                    <a:pt x="484" y="599"/>
                  </a:lnTo>
                  <a:lnTo>
                    <a:pt x="482" y="600"/>
                  </a:lnTo>
                  <a:lnTo>
                    <a:pt x="481" y="602"/>
                  </a:lnTo>
                  <a:lnTo>
                    <a:pt x="480" y="605"/>
                  </a:lnTo>
                  <a:lnTo>
                    <a:pt x="478" y="609"/>
                  </a:lnTo>
                  <a:lnTo>
                    <a:pt x="476" y="614"/>
                  </a:lnTo>
                  <a:lnTo>
                    <a:pt x="475" y="617"/>
                  </a:lnTo>
                  <a:lnTo>
                    <a:pt x="475" y="620"/>
                  </a:lnTo>
                  <a:lnTo>
                    <a:pt x="475" y="624"/>
                  </a:lnTo>
                  <a:lnTo>
                    <a:pt x="473" y="626"/>
                  </a:lnTo>
                  <a:lnTo>
                    <a:pt x="475" y="626"/>
                  </a:lnTo>
                  <a:lnTo>
                    <a:pt x="475" y="626"/>
                  </a:lnTo>
                  <a:lnTo>
                    <a:pt x="475" y="626"/>
                  </a:lnTo>
                  <a:lnTo>
                    <a:pt x="473" y="627"/>
                  </a:lnTo>
                  <a:lnTo>
                    <a:pt x="472" y="627"/>
                  </a:lnTo>
                  <a:lnTo>
                    <a:pt x="469" y="630"/>
                  </a:lnTo>
                  <a:lnTo>
                    <a:pt x="467" y="631"/>
                  </a:lnTo>
                  <a:lnTo>
                    <a:pt x="464" y="634"/>
                  </a:lnTo>
                  <a:lnTo>
                    <a:pt x="460" y="636"/>
                  </a:lnTo>
                  <a:lnTo>
                    <a:pt x="457" y="638"/>
                  </a:lnTo>
                  <a:lnTo>
                    <a:pt x="453" y="642"/>
                  </a:lnTo>
                  <a:lnTo>
                    <a:pt x="449" y="644"/>
                  </a:lnTo>
                  <a:lnTo>
                    <a:pt x="445" y="647"/>
                  </a:lnTo>
                  <a:lnTo>
                    <a:pt x="440" y="647"/>
                  </a:lnTo>
                  <a:lnTo>
                    <a:pt x="440" y="647"/>
                  </a:lnTo>
                  <a:lnTo>
                    <a:pt x="435" y="648"/>
                  </a:lnTo>
                  <a:lnTo>
                    <a:pt x="430" y="648"/>
                  </a:lnTo>
                  <a:lnTo>
                    <a:pt x="423" y="647"/>
                  </a:lnTo>
                  <a:lnTo>
                    <a:pt x="418" y="645"/>
                  </a:lnTo>
                  <a:lnTo>
                    <a:pt x="411" y="643"/>
                  </a:lnTo>
                  <a:lnTo>
                    <a:pt x="405" y="640"/>
                  </a:lnTo>
                  <a:lnTo>
                    <a:pt x="397" y="635"/>
                  </a:lnTo>
                  <a:lnTo>
                    <a:pt x="392" y="631"/>
                  </a:lnTo>
                  <a:lnTo>
                    <a:pt x="387" y="627"/>
                  </a:lnTo>
                  <a:lnTo>
                    <a:pt x="381" y="625"/>
                  </a:lnTo>
                  <a:lnTo>
                    <a:pt x="374" y="621"/>
                  </a:lnTo>
                  <a:lnTo>
                    <a:pt x="374" y="622"/>
                  </a:lnTo>
                  <a:lnTo>
                    <a:pt x="373" y="621"/>
                  </a:lnTo>
                  <a:lnTo>
                    <a:pt x="372" y="621"/>
                  </a:lnTo>
                  <a:lnTo>
                    <a:pt x="369" y="620"/>
                  </a:lnTo>
                  <a:lnTo>
                    <a:pt x="366" y="618"/>
                  </a:lnTo>
                  <a:lnTo>
                    <a:pt x="366" y="620"/>
                  </a:lnTo>
                  <a:lnTo>
                    <a:pt x="366" y="620"/>
                  </a:lnTo>
                  <a:lnTo>
                    <a:pt x="366" y="620"/>
                  </a:lnTo>
                  <a:lnTo>
                    <a:pt x="364" y="618"/>
                  </a:lnTo>
                  <a:lnTo>
                    <a:pt x="361" y="617"/>
                  </a:lnTo>
                  <a:lnTo>
                    <a:pt x="360" y="616"/>
                  </a:lnTo>
                  <a:lnTo>
                    <a:pt x="351" y="613"/>
                  </a:lnTo>
                  <a:lnTo>
                    <a:pt x="355" y="616"/>
                  </a:lnTo>
                  <a:lnTo>
                    <a:pt x="359" y="618"/>
                  </a:lnTo>
                  <a:lnTo>
                    <a:pt x="361" y="621"/>
                  </a:lnTo>
                  <a:lnTo>
                    <a:pt x="364" y="624"/>
                  </a:lnTo>
                  <a:lnTo>
                    <a:pt x="365" y="626"/>
                  </a:lnTo>
                  <a:lnTo>
                    <a:pt x="366" y="627"/>
                  </a:lnTo>
                  <a:lnTo>
                    <a:pt x="366" y="629"/>
                  </a:lnTo>
                  <a:lnTo>
                    <a:pt x="365" y="629"/>
                  </a:lnTo>
                  <a:lnTo>
                    <a:pt x="364" y="629"/>
                  </a:lnTo>
                  <a:lnTo>
                    <a:pt x="368" y="633"/>
                  </a:lnTo>
                  <a:lnTo>
                    <a:pt x="369" y="636"/>
                  </a:lnTo>
                  <a:lnTo>
                    <a:pt x="370" y="640"/>
                  </a:lnTo>
                  <a:lnTo>
                    <a:pt x="372" y="643"/>
                  </a:lnTo>
                  <a:lnTo>
                    <a:pt x="372" y="644"/>
                  </a:lnTo>
                  <a:lnTo>
                    <a:pt x="370" y="643"/>
                  </a:lnTo>
                  <a:lnTo>
                    <a:pt x="370" y="643"/>
                  </a:lnTo>
                  <a:lnTo>
                    <a:pt x="368" y="640"/>
                  </a:lnTo>
                  <a:lnTo>
                    <a:pt x="366" y="639"/>
                  </a:lnTo>
                  <a:lnTo>
                    <a:pt x="362" y="635"/>
                  </a:lnTo>
                  <a:lnTo>
                    <a:pt x="359" y="631"/>
                  </a:lnTo>
                  <a:lnTo>
                    <a:pt x="353" y="627"/>
                  </a:lnTo>
                  <a:lnTo>
                    <a:pt x="350" y="624"/>
                  </a:lnTo>
                  <a:lnTo>
                    <a:pt x="346" y="620"/>
                  </a:lnTo>
                  <a:lnTo>
                    <a:pt x="346" y="620"/>
                  </a:lnTo>
                  <a:lnTo>
                    <a:pt x="342" y="617"/>
                  </a:lnTo>
                  <a:lnTo>
                    <a:pt x="337" y="614"/>
                  </a:lnTo>
                  <a:lnTo>
                    <a:pt x="333" y="611"/>
                  </a:lnTo>
                  <a:lnTo>
                    <a:pt x="330" y="608"/>
                  </a:lnTo>
                  <a:lnTo>
                    <a:pt x="330" y="608"/>
                  </a:lnTo>
                  <a:lnTo>
                    <a:pt x="333" y="611"/>
                  </a:lnTo>
                  <a:lnTo>
                    <a:pt x="335" y="614"/>
                  </a:lnTo>
                  <a:lnTo>
                    <a:pt x="338" y="618"/>
                  </a:lnTo>
                  <a:lnTo>
                    <a:pt x="342" y="621"/>
                  </a:lnTo>
                  <a:lnTo>
                    <a:pt x="343" y="624"/>
                  </a:lnTo>
                  <a:lnTo>
                    <a:pt x="344" y="625"/>
                  </a:lnTo>
                  <a:lnTo>
                    <a:pt x="344" y="625"/>
                  </a:lnTo>
                  <a:lnTo>
                    <a:pt x="343" y="625"/>
                  </a:lnTo>
                  <a:lnTo>
                    <a:pt x="348" y="629"/>
                  </a:lnTo>
                  <a:lnTo>
                    <a:pt x="353" y="635"/>
                  </a:lnTo>
                  <a:lnTo>
                    <a:pt x="360" y="642"/>
                  </a:lnTo>
                  <a:lnTo>
                    <a:pt x="368" y="651"/>
                  </a:lnTo>
                  <a:lnTo>
                    <a:pt x="373" y="660"/>
                  </a:lnTo>
                  <a:lnTo>
                    <a:pt x="377" y="665"/>
                  </a:lnTo>
                  <a:lnTo>
                    <a:pt x="378" y="667"/>
                  </a:lnTo>
                  <a:lnTo>
                    <a:pt x="377" y="667"/>
                  </a:lnTo>
                  <a:lnTo>
                    <a:pt x="375" y="666"/>
                  </a:lnTo>
                  <a:lnTo>
                    <a:pt x="373" y="664"/>
                  </a:lnTo>
                  <a:lnTo>
                    <a:pt x="370" y="661"/>
                  </a:lnTo>
                  <a:lnTo>
                    <a:pt x="366" y="657"/>
                  </a:lnTo>
                  <a:lnTo>
                    <a:pt x="368" y="661"/>
                  </a:lnTo>
                  <a:lnTo>
                    <a:pt x="369" y="664"/>
                  </a:lnTo>
                  <a:lnTo>
                    <a:pt x="370" y="665"/>
                  </a:lnTo>
                  <a:lnTo>
                    <a:pt x="370" y="666"/>
                  </a:lnTo>
                  <a:lnTo>
                    <a:pt x="369" y="665"/>
                  </a:lnTo>
                  <a:lnTo>
                    <a:pt x="368" y="664"/>
                  </a:lnTo>
                  <a:lnTo>
                    <a:pt x="370" y="669"/>
                  </a:lnTo>
                  <a:lnTo>
                    <a:pt x="373" y="671"/>
                  </a:lnTo>
                  <a:lnTo>
                    <a:pt x="374" y="674"/>
                  </a:lnTo>
                  <a:lnTo>
                    <a:pt x="374" y="674"/>
                  </a:lnTo>
                  <a:lnTo>
                    <a:pt x="374" y="674"/>
                  </a:lnTo>
                  <a:lnTo>
                    <a:pt x="373" y="673"/>
                  </a:lnTo>
                  <a:lnTo>
                    <a:pt x="370" y="671"/>
                  </a:lnTo>
                  <a:lnTo>
                    <a:pt x="368" y="669"/>
                  </a:lnTo>
                  <a:lnTo>
                    <a:pt x="370" y="673"/>
                  </a:lnTo>
                  <a:lnTo>
                    <a:pt x="373" y="676"/>
                  </a:lnTo>
                  <a:lnTo>
                    <a:pt x="374" y="679"/>
                  </a:lnTo>
                  <a:lnTo>
                    <a:pt x="374" y="682"/>
                  </a:lnTo>
                  <a:lnTo>
                    <a:pt x="378" y="687"/>
                  </a:lnTo>
                  <a:lnTo>
                    <a:pt x="382" y="692"/>
                  </a:lnTo>
                  <a:lnTo>
                    <a:pt x="384" y="697"/>
                  </a:lnTo>
                  <a:lnTo>
                    <a:pt x="387" y="704"/>
                  </a:lnTo>
                  <a:lnTo>
                    <a:pt x="388" y="707"/>
                  </a:lnTo>
                  <a:lnTo>
                    <a:pt x="390" y="711"/>
                  </a:lnTo>
                  <a:lnTo>
                    <a:pt x="390" y="711"/>
                  </a:lnTo>
                  <a:lnTo>
                    <a:pt x="390" y="711"/>
                  </a:lnTo>
                  <a:lnTo>
                    <a:pt x="388" y="710"/>
                  </a:lnTo>
                  <a:lnTo>
                    <a:pt x="387" y="707"/>
                  </a:lnTo>
                  <a:lnTo>
                    <a:pt x="384" y="704"/>
                  </a:lnTo>
                  <a:lnTo>
                    <a:pt x="382" y="700"/>
                  </a:lnTo>
                  <a:lnTo>
                    <a:pt x="377" y="693"/>
                  </a:lnTo>
                  <a:lnTo>
                    <a:pt x="378" y="697"/>
                  </a:lnTo>
                  <a:lnTo>
                    <a:pt x="378" y="698"/>
                  </a:lnTo>
                  <a:lnTo>
                    <a:pt x="378" y="700"/>
                  </a:lnTo>
                  <a:lnTo>
                    <a:pt x="378" y="698"/>
                  </a:lnTo>
                  <a:lnTo>
                    <a:pt x="377" y="697"/>
                  </a:lnTo>
                  <a:lnTo>
                    <a:pt x="375" y="695"/>
                  </a:lnTo>
                  <a:lnTo>
                    <a:pt x="373" y="691"/>
                  </a:lnTo>
                  <a:lnTo>
                    <a:pt x="370" y="685"/>
                  </a:lnTo>
                  <a:lnTo>
                    <a:pt x="368" y="683"/>
                  </a:lnTo>
                  <a:lnTo>
                    <a:pt x="370" y="687"/>
                  </a:lnTo>
                  <a:lnTo>
                    <a:pt x="373" y="692"/>
                  </a:lnTo>
                  <a:lnTo>
                    <a:pt x="375" y="697"/>
                  </a:lnTo>
                  <a:lnTo>
                    <a:pt x="378" y="702"/>
                  </a:lnTo>
                  <a:lnTo>
                    <a:pt x="396" y="733"/>
                  </a:lnTo>
                  <a:lnTo>
                    <a:pt x="397" y="735"/>
                  </a:lnTo>
                  <a:lnTo>
                    <a:pt x="400" y="740"/>
                  </a:lnTo>
                  <a:lnTo>
                    <a:pt x="402" y="744"/>
                  </a:lnTo>
                  <a:lnTo>
                    <a:pt x="404" y="747"/>
                  </a:lnTo>
                  <a:lnTo>
                    <a:pt x="405" y="750"/>
                  </a:lnTo>
                  <a:lnTo>
                    <a:pt x="405" y="753"/>
                  </a:lnTo>
                  <a:lnTo>
                    <a:pt x="405" y="754"/>
                  </a:lnTo>
                  <a:lnTo>
                    <a:pt x="405" y="753"/>
                  </a:lnTo>
                  <a:lnTo>
                    <a:pt x="404" y="751"/>
                  </a:lnTo>
                  <a:lnTo>
                    <a:pt x="405" y="754"/>
                  </a:lnTo>
                  <a:lnTo>
                    <a:pt x="409" y="766"/>
                  </a:lnTo>
                  <a:lnTo>
                    <a:pt x="419" y="778"/>
                  </a:lnTo>
                  <a:lnTo>
                    <a:pt x="428" y="793"/>
                  </a:lnTo>
                  <a:lnTo>
                    <a:pt x="435" y="807"/>
                  </a:lnTo>
                  <a:lnTo>
                    <a:pt x="435" y="821"/>
                  </a:lnTo>
                  <a:lnTo>
                    <a:pt x="431" y="833"/>
                  </a:lnTo>
                  <a:lnTo>
                    <a:pt x="426" y="844"/>
                  </a:lnTo>
                  <a:lnTo>
                    <a:pt x="422" y="856"/>
                  </a:lnTo>
                  <a:lnTo>
                    <a:pt x="422" y="869"/>
                  </a:lnTo>
                  <a:lnTo>
                    <a:pt x="422" y="868"/>
                  </a:lnTo>
                  <a:lnTo>
                    <a:pt x="420" y="874"/>
                  </a:lnTo>
                  <a:lnTo>
                    <a:pt x="417" y="910"/>
                  </a:lnTo>
                  <a:lnTo>
                    <a:pt x="410" y="948"/>
                  </a:lnTo>
                  <a:lnTo>
                    <a:pt x="402" y="982"/>
                  </a:lnTo>
                  <a:lnTo>
                    <a:pt x="400" y="998"/>
                  </a:lnTo>
                  <a:lnTo>
                    <a:pt x="397" y="1006"/>
                  </a:lnTo>
                  <a:lnTo>
                    <a:pt x="395" y="1013"/>
                  </a:lnTo>
                  <a:lnTo>
                    <a:pt x="390" y="1028"/>
                  </a:lnTo>
                  <a:lnTo>
                    <a:pt x="379" y="1056"/>
                  </a:lnTo>
                  <a:lnTo>
                    <a:pt x="372" y="1082"/>
                  </a:lnTo>
                  <a:lnTo>
                    <a:pt x="366" y="1105"/>
                  </a:lnTo>
                  <a:lnTo>
                    <a:pt x="365" y="1125"/>
                  </a:lnTo>
                  <a:lnTo>
                    <a:pt x="365" y="1139"/>
                  </a:lnTo>
                  <a:lnTo>
                    <a:pt x="366" y="1144"/>
                  </a:lnTo>
                  <a:lnTo>
                    <a:pt x="366" y="1148"/>
                  </a:lnTo>
                  <a:lnTo>
                    <a:pt x="368" y="1150"/>
                  </a:lnTo>
                  <a:lnTo>
                    <a:pt x="368" y="1152"/>
                  </a:lnTo>
                  <a:lnTo>
                    <a:pt x="368" y="1150"/>
                  </a:lnTo>
                  <a:lnTo>
                    <a:pt x="366" y="1148"/>
                  </a:lnTo>
                  <a:lnTo>
                    <a:pt x="365" y="1144"/>
                  </a:lnTo>
                  <a:lnTo>
                    <a:pt x="364" y="1139"/>
                  </a:lnTo>
                  <a:lnTo>
                    <a:pt x="364" y="1125"/>
                  </a:lnTo>
                  <a:lnTo>
                    <a:pt x="365" y="1105"/>
                  </a:lnTo>
                  <a:lnTo>
                    <a:pt x="366" y="1095"/>
                  </a:lnTo>
                  <a:lnTo>
                    <a:pt x="369" y="1085"/>
                  </a:lnTo>
                  <a:lnTo>
                    <a:pt x="365" y="1096"/>
                  </a:lnTo>
                  <a:lnTo>
                    <a:pt x="362" y="1130"/>
                  </a:lnTo>
                  <a:lnTo>
                    <a:pt x="364" y="1139"/>
                  </a:lnTo>
                  <a:lnTo>
                    <a:pt x="365" y="1149"/>
                  </a:lnTo>
                  <a:lnTo>
                    <a:pt x="366" y="1152"/>
                  </a:lnTo>
                  <a:lnTo>
                    <a:pt x="369" y="1156"/>
                  </a:lnTo>
                  <a:lnTo>
                    <a:pt x="373" y="1159"/>
                  </a:lnTo>
                  <a:lnTo>
                    <a:pt x="377" y="1163"/>
                  </a:lnTo>
                  <a:lnTo>
                    <a:pt x="383" y="1166"/>
                  </a:lnTo>
                  <a:lnTo>
                    <a:pt x="390" y="1170"/>
                  </a:lnTo>
                  <a:lnTo>
                    <a:pt x="396" y="1174"/>
                  </a:lnTo>
                  <a:lnTo>
                    <a:pt x="402" y="1177"/>
                  </a:lnTo>
                  <a:lnTo>
                    <a:pt x="409" y="1183"/>
                  </a:lnTo>
                  <a:lnTo>
                    <a:pt x="414" y="1188"/>
                  </a:lnTo>
                  <a:lnTo>
                    <a:pt x="419" y="1193"/>
                  </a:lnTo>
                  <a:lnTo>
                    <a:pt x="426" y="1199"/>
                  </a:lnTo>
                  <a:lnTo>
                    <a:pt x="440" y="1203"/>
                  </a:lnTo>
                  <a:lnTo>
                    <a:pt x="440" y="1203"/>
                  </a:lnTo>
                  <a:lnTo>
                    <a:pt x="440" y="1203"/>
                  </a:lnTo>
                  <a:lnTo>
                    <a:pt x="454" y="1206"/>
                  </a:lnTo>
                  <a:lnTo>
                    <a:pt x="450" y="1206"/>
                  </a:lnTo>
                  <a:lnTo>
                    <a:pt x="455" y="1207"/>
                  </a:lnTo>
                  <a:lnTo>
                    <a:pt x="460" y="1210"/>
                  </a:lnTo>
                  <a:lnTo>
                    <a:pt x="460" y="1210"/>
                  </a:lnTo>
                  <a:lnTo>
                    <a:pt x="460" y="1210"/>
                  </a:lnTo>
                  <a:lnTo>
                    <a:pt x="464" y="1211"/>
                  </a:lnTo>
                  <a:lnTo>
                    <a:pt x="472" y="1212"/>
                  </a:lnTo>
                  <a:lnTo>
                    <a:pt x="477" y="1216"/>
                  </a:lnTo>
                  <a:lnTo>
                    <a:pt x="482" y="1219"/>
                  </a:lnTo>
                  <a:lnTo>
                    <a:pt x="485" y="1220"/>
                  </a:lnTo>
                  <a:lnTo>
                    <a:pt x="486" y="1221"/>
                  </a:lnTo>
                  <a:lnTo>
                    <a:pt x="486" y="1221"/>
                  </a:lnTo>
                  <a:lnTo>
                    <a:pt x="486" y="1220"/>
                  </a:lnTo>
                  <a:lnTo>
                    <a:pt x="486" y="1221"/>
                  </a:lnTo>
                  <a:lnTo>
                    <a:pt x="488" y="1223"/>
                  </a:lnTo>
                  <a:lnTo>
                    <a:pt x="488" y="1224"/>
                  </a:lnTo>
                  <a:lnTo>
                    <a:pt x="488" y="1223"/>
                  </a:lnTo>
                  <a:lnTo>
                    <a:pt x="488" y="1227"/>
                  </a:lnTo>
                  <a:lnTo>
                    <a:pt x="488" y="1229"/>
                  </a:lnTo>
                  <a:lnTo>
                    <a:pt x="486" y="1233"/>
                  </a:lnTo>
                  <a:lnTo>
                    <a:pt x="484" y="1236"/>
                  </a:lnTo>
                  <a:lnTo>
                    <a:pt x="480" y="1238"/>
                  </a:lnTo>
                  <a:lnTo>
                    <a:pt x="476" y="1239"/>
                  </a:lnTo>
                  <a:lnTo>
                    <a:pt x="472" y="1239"/>
                  </a:lnTo>
                  <a:lnTo>
                    <a:pt x="471" y="1239"/>
                  </a:lnTo>
                  <a:lnTo>
                    <a:pt x="468" y="1241"/>
                  </a:lnTo>
                  <a:lnTo>
                    <a:pt x="467" y="1241"/>
                  </a:lnTo>
                  <a:lnTo>
                    <a:pt x="466" y="1241"/>
                  </a:lnTo>
                  <a:lnTo>
                    <a:pt x="463" y="1243"/>
                  </a:lnTo>
                  <a:lnTo>
                    <a:pt x="457" y="1246"/>
                  </a:lnTo>
                  <a:lnTo>
                    <a:pt x="450" y="1247"/>
                  </a:lnTo>
                  <a:lnTo>
                    <a:pt x="445" y="1247"/>
                  </a:lnTo>
                  <a:lnTo>
                    <a:pt x="440" y="1247"/>
                  </a:lnTo>
                  <a:lnTo>
                    <a:pt x="436" y="1246"/>
                  </a:lnTo>
                  <a:lnTo>
                    <a:pt x="435" y="1245"/>
                  </a:lnTo>
                  <a:lnTo>
                    <a:pt x="431" y="1246"/>
                  </a:lnTo>
                  <a:lnTo>
                    <a:pt x="427" y="1247"/>
                  </a:lnTo>
                  <a:lnTo>
                    <a:pt x="422" y="1247"/>
                  </a:lnTo>
                  <a:lnTo>
                    <a:pt x="415" y="1247"/>
                  </a:lnTo>
                  <a:lnTo>
                    <a:pt x="409" y="1246"/>
                  </a:lnTo>
                  <a:lnTo>
                    <a:pt x="402" y="1243"/>
                  </a:lnTo>
                  <a:lnTo>
                    <a:pt x="396" y="1242"/>
                  </a:lnTo>
                  <a:lnTo>
                    <a:pt x="395" y="1241"/>
                  </a:lnTo>
                  <a:lnTo>
                    <a:pt x="395" y="1242"/>
                  </a:lnTo>
                  <a:lnTo>
                    <a:pt x="395" y="1241"/>
                  </a:lnTo>
                  <a:lnTo>
                    <a:pt x="392" y="1241"/>
                  </a:lnTo>
                  <a:lnTo>
                    <a:pt x="388" y="1239"/>
                  </a:lnTo>
                  <a:lnTo>
                    <a:pt x="384" y="1239"/>
                  </a:lnTo>
                  <a:lnTo>
                    <a:pt x="384" y="1239"/>
                  </a:lnTo>
                  <a:lnTo>
                    <a:pt x="384" y="1239"/>
                  </a:lnTo>
                  <a:lnTo>
                    <a:pt x="383" y="1239"/>
                  </a:lnTo>
                  <a:lnTo>
                    <a:pt x="373" y="1237"/>
                  </a:lnTo>
                  <a:lnTo>
                    <a:pt x="364" y="1237"/>
                  </a:lnTo>
                  <a:lnTo>
                    <a:pt x="356" y="1237"/>
                  </a:lnTo>
                  <a:lnTo>
                    <a:pt x="343" y="1238"/>
                  </a:lnTo>
                  <a:lnTo>
                    <a:pt x="338" y="1239"/>
                  </a:lnTo>
                  <a:lnTo>
                    <a:pt x="329" y="1243"/>
                  </a:lnTo>
                  <a:lnTo>
                    <a:pt x="317" y="1245"/>
                  </a:lnTo>
                  <a:lnTo>
                    <a:pt x="306" y="1243"/>
                  </a:lnTo>
                  <a:lnTo>
                    <a:pt x="295" y="1239"/>
                  </a:lnTo>
                  <a:lnTo>
                    <a:pt x="293" y="1237"/>
                  </a:lnTo>
                  <a:lnTo>
                    <a:pt x="290" y="1237"/>
                  </a:lnTo>
                  <a:lnTo>
                    <a:pt x="292" y="1238"/>
                  </a:lnTo>
                  <a:lnTo>
                    <a:pt x="292" y="1238"/>
                  </a:lnTo>
                  <a:lnTo>
                    <a:pt x="290" y="1238"/>
                  </a:lnTo>
                  <a:lnTo>
                    <a:pt x="289" y="1237"/>
                  </a:lnTo>
                  <a:lnTo>
                    <a:pt x="286" y="1236"/>
                  </a:lnTo>
                  <a:lnTo>
                    <a:pt x="285" y="1234"/>
                  </a:lnTo>
                  <a:lnTo>
                    <a:pt x="283" y="1232"/>
                  </a:lnTo>
                  <a:lnTo>
                    <a:pt x="280" y="1228"/>
                  </a:lnTo>
                  <a:lnTo>
                    <a:pt x="280" y="1225"/>
                  </a:lnTo>
                  <a:lnTo>
                    <a:pt x="279" y="1224"/>
                  </a:lnTo>
                  <a:lnTo>
                    <a:pt x="279" y="1221"/>
                  </a:lnTo>
                  <a:lnTo>
                    <a:pt x="279" y="1215"/>
                  </a:lnTo>
                  <a:lnTo>
                    <a:pt x="280" y="1211"/>
                  </a:lnTo>
                  <a:lnTo>
                    <a:pt x="281" y="1210"/>
                  </a:lnTo>
                  <a:lnTo>
                    <a:pt x="280" y="1208"/>
                  </a:lnTo>
                  <a:lnTo>
                    <a:pt x="281" y="1199"/>
                  </a:lnTo>
                  <a:lnTo>
                    <a:pt x="283" y="1190"/>
                  </a:lnTo>
                  <a:lnTo>
                    <a:pt x="283" y="1184"/>
                  </a:lnTo>
                  <a:lnTo>
                    <a:pt x="284" y="1180"/>
                  </a:lnTo>
                  <a:lnTo>
                    <a:pt x="285" y="1176"/>
                  </a:lnTo>
                  <a:lnTo>
                    <a:pt x="285" y="1176"/>
                  </a:lnTo>
                  <a:lnTo>
                    <a:pt x="286" y="1167"/>
                  </a:lnTo>
                  <a:lnTo>
                    <a:pt x="293" y="1145"/>
                  </a:lnTo>
                  <a:lnTo>
                    <a:pt x="297" y="1128"/>
                  </a:lnTo>
                  <a:lnTo>
                    <a:pt x="298" y="1122"/>
                  </a:lnTo>
                  <a:lnTo>
                    <a:pt x="299" y="1117"/>
                  </a:lnTo>
                  <a:lnTo>
                    <a:pt x="299" y="1117"/>
                  </a:lnTo>
                  <a:lnTo>
                    <a:pt x="297" y="1123"/>
                  </a:lnTo>
                  <a:lnTo>
                    <a:pt x="294" y="1128"/>
                  </a:lnTo>
                  <a:lnTo>
                    <a:pt x="293" y="1134"/>
                  </a:lnTo>
                  <a:lnTo>
                    <a:pt x="292" y="1137"/>
                  </a:lnTo>
                  <a:lnTo>
                    <a:pt x="290" y="1140"/>
                  </a:lnTo>
                  <a:lnTo>
                    <a:pt x="290" y="1143"/>
                  </a:lnTo>
                  <a:lnTo>
                    <a:pt x="290" y="1143"/>
                  </a:lnTo>
                  <a:lnTo>
                    <a:pt x="290" y="1143"/>
                  </a:lnTo>
                  <a:lnTo>
                    <a:pt x="290" y="1140"/>
                  </a:lnTo>
                  <a:lnTo>
                    <a:pt x="290" y="1137"/>
                  </a:lnTo>
                  <a:lnTo>
                    <a:pt x="290" y="1134"/>
                  </a:lnTo>
                  <a:lnTo>
                    <a:pt x="293" y="1122"/>
                  </a:lnTo>
                  <a:lnTo>
                    <a:pt x="298" y="1110"/>
                  </a:lnTo>
                  <a:lnTo>
                    <a:pt x="301" y="1103"/>
                  </a:lnTo>
                  <a:lnTo>
                    <a:pt x="304" y="1096"/>
                  </a:lnTo>
                  <a:lnTo>
                    <a:pt x="304" y="1088"/>
                  </a:lnTo>
                  <a:lnTo>
                    <a:pt x="302" y="1091"/>
                  </a:lnTo>
                  <a:lnTo>
                    <a:pt x="301" y="1094"/>
                  </a:lnTo>
                  <a:lnTo>
                    <a:pt x="299" y="1095"/>
                  </a:lnTo>
                  <a:lnTo>
                    <a:pt x="298" y="1096"/>
                  </a:lnTo>
                  <a:lnTo>
                    <a:pt x="297" y="1101"/>
                  </a:lnTo>
                  <a:lnTo>
                    <a:pt x="295" y="1105"/>
                  </a:lnTo>
                  <a:lnTo>
                    <a:pt x="294" y="1109"/>
                  </a:lnTo>
                  <a:lnTo>
                    <a:pt x="294" y="1112"/>
                  </a:lnTo>
                  <a:lnTo>
                    <a:pt x="293" y="1114"/>
                  </a:lnTo>
                  <a:lnTo>
                    <a:pt x="293" y="1114"/>
                  </a:lnTo>
                  <a:lnTo>
                    <a:pt x="293" y="1113"/>
                  </a:lnTo>
                  <a:lnTo>
                    <a:pt x="293" y="1110"/>
                  </a:lnTo>
                  <a:lnTo>
                    <a:pt x="294" y="1105"/>
                  </a:lnTo>
                  <a:lnTo>
                    <a:pt x="295" y="1095"/>
                  </a:lnTo>
                  <a:lnTo>
                    <a:pt x="298" y="1083"/>
                  </a:lnTo>
                  <a:lnTo>
                    <a:pt x="301" y="1077"/>
                  </a:lnTo>
                  <a:lnTo>
                    <a:pt x="303" y="1070"/>
                  </a:lnTo>
                  <a:lnTo>
                    <a:pt x="306" y="1064"/>
                  </a:lnTo>
                  <a:lnTo>
                    <a:pt x="308" y="1043"/>
                  </a:lnTo>
                  <a:lnTo>
                    <a:pt x="307" y="1046"/>
                  </a:lnTo>
                  <a:lnTo>
                    <a:pt x="304" y="1052"/>
                  </a:lnTo>
                  <a:lnTo>
                    <a:pt x="303" y="1059"/>
                  </a:lnTo>
                  <a:lnTo>
                    <a:pt x="298" y="1073"/>
                  </a:lnTo>
                  <a:lnTo>
                    <a:pt x="295" y="1085"/>
                  </a:lnTo>
                  <a:lnTo>
                    <a:pt x="294" y="1088"/>
                  </a:lnTo>
                  <a:lnTo>
                    <a:pt x="294" y="1092"/>
                  </a:lnTo>
                  <a:lnTo>
                    <a:pt x="293" y="1094"/>
                  </a:lnTo>
                  <a:lnTo>
                    <a:pt x="293" y="1095"/>
                  </a:lnTo>
                  <a:lnTo>
                    <a:pt x="293" y="1094"/>
                  </a:lnTo>
                  <a:lnTo>
                    <a:pt x="293" y="1092"/>
                  </a:lnTo>
                  <a:lnTo>
                    <a:pt x="293" y="1088"/>
                  </a:lnTo>
                  <a:lnTo>
                    <a:pt x="294" y="1085"/>
                  </a:lnTo>
                  <a:lnTo>
                    <a:pt x="295" y="1072"/>
                  </a:lnTo>
                  <a:lnTo>
                    <a:pt x="299" y="1057"/>
                  </a:lnTo>
                  <a:lnTo>
                    <a:pt x="303" y="1046"/>
                  </a:lnTo>
                  <a:lnTo>
                    <a:pt x="308" y="1035"/>
                  </a:lnTo>
                  <a:lnTo>
                    <a:pt x="308" y="1030"/>
                  </a:lnTo>
                  <a:lnTo>
                    <a:pt x="307" y="1035"/>
                  </a:lnTo>
                  <a:lnTo>
                    <a:pt x="304" y="1039"/>
                  </a:lnTo>
                  <a:lnTo>
                    <a:pt x="303" y="1042"/>
                  </a:lnTo>
                  <a:lnTo>
                    <a:pt x="302" y="1043"/>
                  </a:lnTo>
                  <a:lnTo>
                    <a:pt x="302" y="1043"/>
                  </a:lnTo>
                  <a:lnTo>
                    <a:pt x="302" y="1043"/>
                  </a:lnTo>
                  <a:lnTo>
                    <a:pt x="302" y="1041"/>
                  </a:lnTo>
                  <a:lnTo>
                    <a:pt x="303" y="1038"/>
                  </a:lnTo>
                  <a:lnTo>
                    <a:pt x="304" y="1033"/>
                  </a:lnTo>
                  <a:lnTo>
                    <a:pt x="306" y="1026"/>
                  </a:lnTo>
                  <a:lnTo>
                    <a:pt x="308" y="1021"/>
                  </a:lnTo>
                  <a:lnTo>
                    <a:pt x="310" y="1017"/>
                  </a:lnTo>
                  <a:lnTo>
                    <a:pt x="311" y="1013"/>
                  </a:lnTo>
                  <a:lnTo>
                    <a:pt x="312" y="1012"/>
                  </a:lnTo>
                  <a:lnTo>
                    <a:pt x="312" y="1011"/>
                  </a:lnTo>
                  <a:lnTo>
                    <a:pt x="312" y="1012"/>
                  </a:lnTo>
                  <a:lnTo>
                    <a:pt x="312" y="1013"/>
                  </a:lnTo>
                  <a:lnTo>
                    <a:pt x="315" y="1006"/>
                  </a:lnTo>
                  <a:lnTo>
                    <a:pt x="315" y="1006"/>
                  </a:lnTo>
                  <a:lnTo>
                    <a:pt x="315" y="1006"/>
                  </a:lnTo>
                  <a:lnTo>
                    <a:pt x="315" y="1003"/>
                  </a:lnTo>
                  <a:lnTo>
                    <a:pt x="316" y="999"/>
                  </a:lnTo>
                  <a:lnTo>
                    <a:pt x="317" y="994"/>
                  </a:lnTo>
                  <a:lnTo>
                    <a:pt x="317" y="992"/>
                  </a:lnTo>
                  <a:lnTo>
                    <a:pt x="313" y="998"/>
                  </a:lnTo>
                  <a:lnTo>
                    <a:pt x="312" y="1003"/>
                  </a:lnTo>
                  <a:lnTo>
                    <a:pt x="310" y="1010"/>
                  </a:lnTo>
                  <a:lnTo>
                    <a:pt x="308" y="1015"/>
                  </a:lnTo>
                  <a:lnTo>
                    <a:pt x="306" y="1019"/>
                  </a:lnTo>
                  <a:lnTo>
                    <a:pt x="304" y="1024"/>
                  </a:lnTo>
                  <a:lnTo>
                    <a:pt x="303" y="1026"/>
                  </a:lnTo>
                  <a:lnTo>
                    <a:pt x="302" y="1028"/>
                  </a:lnTo>
                  <a:lnTo>
                    <a:pt x="302" y="1029"/>
                  </a:lnTo>
                  <a:lnTo>
                    <a:pt x="302" y="1028"/>
                  </a:lnTo>
                  <a:lnTo>
                    <a:pt x="302" y="1026"/>
                  </a:lnTo>
                  <a:lnTo>
                    <a:pt x="303" y="1023"/>
                  </a:lnTo>
                  <a:lnTo>
                    <a:pt x="303" y="1019"/>
                  </a:lnTo>
                  <a:lnTo>
                    <a:pt x="304" y="1013"/>
                  </a:lnTo>
                  <a:lnTo>
                    <a:pt x="306" y="1008"/>
                  </a:lnTo>
                  <a:lnTo>
                    <a:pt x="307" y="1007"/>
                  </a:lnTo>
                  <a:lnTo>
                    <a:pt x="304" y="1011"/>
                  </a:lnTo>
                  <a:lnTo>
                    <a:pt x="303" y="1003"/>
                  </a:lnTo>
                  <a:lnTo>
                    <a:pt x="304" y="995"/>
                  </a:lnTo>
                  <a:lnTo>
                    <a:pt x="302" y="1001"/>
                  </a:lnTo>
                  <a:lnTo>
                    <a:pt x="299" y="1007"/>
                  </a:lnTo>
                  <a:lnTo>
                    <a:pt x="297" y="1011"/>
                  </a:lnTo>
                  <a:lnTo>
                    <a:pt x="295" y="1015"/>
                  </a:lnTo>
                  <a:lnTo>
                    <a:pt x="294" y="1019"/>
                  </a:lnTo>
                  <a:lnTo>
                    <a:pt x="294" y="1020"/>
                  </a:lnTo>
                  <a:lnTo>
                    <a:pt x="294" y="1020"/>
                  </a:lnTo>
                  <a:lnTo>
                    <a:pt x="295" y="1021"/>
                  </a:lnTo>
                  <a:lnTo>
                    <a:pt x="294" y="1020"/>
                  </a:lnTo>
                  <a:lnTo>
                    <a:pt x="294" y="1020"/>
                  </a:lnTo>
                  <a:lnTo>
                    <a:pt x="294" y="1019"/>
                  </a:lnTo>
                  <a:lnTo>
                    <a:pt x="294" y="1015"/>
                  </a:lnTo>
                  <a:lnTo>
                    <a:pt x="294" y="1011"/>
                  </a:lnTo>
                  <a:lnTo>
                    <a:pt x="298" y="1001"/>
                  </a:lnTo>
                  <a:lnTo>
                    <a:pt x="303" y="988"/>
                  </a:lnTo>
                  <a:lnTo>
                    <a:pt x="306" y="982"/>
                  </a:lnTo>
                  <a:lnTo>
                    <a:pt x="308" y="973"/>
                  </a:lnTo>
                  <a:lnTo>
                    <a:pt x="302" y="986"/>
                  </a:lnTo>
                  <a:lnTo>
                    <a:pt x="297" y="997"/>
                  </a:lnTo>
                  <a:lnTo>
                    <a:pt x="295" y="1002"/>
                  </a:lnTo>
                  <a:lnTo>
                    <a:pt x="294" y="1004"/>
                  </a:lnTo>
                  <a:lnTo>
                    <a:pt x="294" y="1007"/>
                  </a:lnTo>
                  <a:lnTo>
                    <a:pt x="293" y="1008"/>
                  </a:lnTo>
                  <a:lnTo>
                    <a:pt x="293" y="1007"/>
                  </a:lnTo>
                  <a:lnTo>
                    <a:pt x="294" y="1004"/>
                  </a:lnTo>
                  <a:lnTo>
                    <a:pt x="294" y="1002"/>
                  </a:lnTo>
                  <a:lnTo>
                    <a:pt x="295" y="997"/>
                  </a:lnTo>
                  <a:lnTo>
                    <a:pt x="299" y="985"/>
                  </a:lnTo>
                  <a:lnTo>
                    <a:pt x="304" y="972"/>
                  </a:lnTo>
                  <a:lnTo>
                    <a:pt x="307" y="967"/>
                  </a:lnTo>
                  <a:lnTo>
                    <a:pt x="312" y="957"/>
                  </a:lnTo>
                  <a:lnTo>
                    <a:pt x="317" y="944"/>
                  </a:lnTo>
                  <a:lnTo>
                    <a:pt x="319" y="942"/>
                  </a:lnTo>
                  <a:lnTo>
                    <a:pt x="319" y="940"/>
                  </a:lnTo>
                  <a:lnTo>
                    <a:pt x="312" y="949"/>
                  </a:lnTo>
                  <a:lnTo>
                    <a:pt x="304" y="958"/>
                  </a:lnTo>
                  <a:lnTo>
                    <a:pt x="303" y="963"/>
                  </a:lnTo>
                  <a:lnTo>
                    <a:pt x="302" y="966"/>
                  </a:lnTo>
                  <a:lnTo>
                    <a:pt x="302" y="968"/>
                  </a:lnTo>
                  <a:lnTo>
                    <a:pt x="302" y="970"/>
                  </a:lnTo>
                  <a:lnTo>
                    <a:pt x="302" y="968"/>
                  </a:lnTo>
                  <a:lnTo>
                    <a:pt x="302" y="966"/>
                  </a:lnTo>
                  <a:lnTo>
                    <a:pt x="303" y="961"/>
                  </a:lnTo>
                  <a:lnTo>
                    <a:pt x="302" y="963"/>
                  </a:lnTo>
                  <a:lnTo>
                    <a:pt x="306" y="944"/>
                  </a:lnTo>
                  <a:lnTo>
                    <a:pt x="313" y="924"/>
                  </a:lnTo>
                  <a:lnTo>
                    <a:pt x="312" y="926"/>
                  </a:lnTo>
                  <a:lnTo>
                    <a:pt x="311" y="927"/>
                  </a:lnTo>
                  <a:lnTo>
                    <a:pt x="310" y="927"/>
                  </a:lnTo>
                  <a:lnTo>
                    <a:pt x="306" y="932"/>
                  </a:lnTo>
                  <a:lnTo>
                    <a:pt x="303" y="937"/>
                  </a:lnTo>
                  <a:lnTo>
                    <a:pt x="301" y="942"/>
                  </a:lnTo>
                  <a:lnTo>
                    <a:pt x="298" y="945"/>
                  </a:lnTo>
                  <a:lnTo>
                    <a:pt x="297" y="946"/>
                  </a:lnTo>
                  <a:lnTo>
                    <a:pt x="295" y="948"/>
                  </a:lnTo>
                  <a:lnTo>
                    <a:pt x="295" y="949"/>
                  </a:lnTo>
                  <a:lnTo>
                    <a:pt x="295" y="948"/>
                  </a:lnTo>
                  <a:lnTo>
                    <a:pt x="297" y="945"/>
                  </a:lnTo>
                  <a:lnTo>
                    <a:pt x="298" y="941"/>
                  </a:lnTo>
                  <a:lnTo>
                    <a:pt x="301" y="937"/>
                  </a:lnTo>
                  <a:lnTo>
                    <a:pt x="303" y="932"/>
                  </a:lnTo>
                  <a:lnTo>
                    <a:pt x="303" y="930"/>
                  </a:lnTo>
                  <a:lnTo>
                    <a:pt x="301" y="933"/>
                  </a:lnTo>
                  <a:lnTo>
                    <a:pt x="297" y="936"/>
                  </a:lnTo>
                  <a:lnTo>
                    <a:pt x="295" y="940"/>
                  </a:lnTo>
                  <a:lnTo>
                    <a:pt x="295" y="942"/>
                  </a:lnTo>
                  <a:lnTo>
                    <a:pt x="294" y="942"/>
                  </a:lnTo>
                  <a:lnTo>
                    <a:pt x="294" y="942"/>
                  </a:lnTo>
                  <a:lnTo>
                    <a:pt x="294" y="941"/>
                  </a:lnTo>
                  <a:lnTo>
                    <a:pt x="295" y="939"/>
                  </a:lnTo>
                  <a:lnTo>
                    <a:pt x="293" y="940"/>
                  </a:lnTo>
                  <a:lnTo>
                    <a:pt x="293" y="940"/>
                  </a:lnTo>
                  <a:lnTo>
                    <a:pt x="283" y="958"/>
                  </a:lnTo>
                  <a:lnTo>
                    <a:pt x="270" y="971"/>
                  </a:lnTo>
                  <a:lnTo>
                    <a:pt x="265" y="977"/>
                  </a:lnTo>
                  <a:lnTo>
                    <a:pt x="267" y="971"/>
                  </a:lnTo>
                  <a:lnTo>
                    <a:pt x="267" y="972"/>
                  </a:lnTo>
                  <a:lnTo>
                    <a:pt x="281" y="949"/>
                  </a:lnTo>
                  <a:lnTo>
                    <a:pt x="279" y="950"/>
                  </a:lnTo>
                  <a:lnTo>
                    <a:pt x="270" y="962"/>
                  </a:lnTo>
                  <a:lnTo>
                    <a:pt x="266" y="967"/>
                  </a:lnTo>
                  <a:lnTo>
                    <a:pt x="262" y="972"/>
                  </a:lnTo>
                  <a:lnTo>
                    <a:pt x="259" y="977"/>
                  </a:lnTo>
                  <a:lnTo>
                    <a:pt x="263" y="970"/>
                  </a:lnTo>
                  <a:lnTo>
                    <a:pt x="254" y="979"/>
                  </a:lnTo>
                  <a:lnTo>
                    <a:pt x="245" y="986"/>
                  </a:lnTo>
                  <a:lnTo>
                    <a:pt x="263" y="963"/>
                  </a:lnTo>
                  <a:lnTo>
                    <a:pt x="265" y="959"/>
                  </a:lnTo>
                  <a:lnTo>
                    <a:pt x="265" y="958"/>
                  </a:lnTo>
                  <a:lnTo>
                    <a:pt x="263" y="959"/>
                  </a:lnTo>
                  <a:lnTo>
                    <a:pt x="254" y="971"/>
                  </a:lnTo>
                  <a:lnTo>
                    <a:pt x="245" y="980"/>
                  </a:lnTo>
                  <a:lnTo>
                    <a:pt x="237" y="989"/>
                  </a:lnTo>
                  <a:lnTo>
                    <a:pt x="237" y="989"/>
                  </a:lnTo>
                  <a:lnTo>
                    <a:pt x="234" y="994"/>
                  </a:lnTo>
                  <a:lnTo>
                    <a:pt x="231" y="997"/>
                  </a:lnTo>
                  <a:lnTo>
                    <a:pt x="228" y="999"/>
                  </a:lnTo>
                  <a:lnTo>
                    <a:pt x="234" y="989"/>
                  </a:lnTo>
                  <a:lnTo>
                    <a:pt x="226" y="994"/>
                  </a:lnTo>
                  <a:lnTo>
                    <a:pt x="219" y="999"/>
                  </a:lnTo>
                  <a:lnTo>
                    <a:pt x="232" y="982"/>
                  </a:lnTo>
                  <a:lnTo>
                    <a:pt x="230" y="985"/>
                  </a:lnTo>
                  <a:lnTo>
                    <a:pt x="228" y="986"/>
                  </a:lnTo>
                  <a:lnTo>
                    <a:pt x="227" y="986"/>
                  </a:lnTo>
                  <a:lnTo>
                    <a:pt x="227" y="986"/>
                  </a:lnTo>
                  <a:lnTo>
                    <a:pt x="228" y="985"/>
                  </a:lnTo>
                  <a:lnTo>
                    <a:pt x="230" y="982"/>
                  </a:lnTo>
                  <a:lnTo>
                    <a:pt x="221" y="993"/>
                  </a:lnTo>
                  <a:lnTo>
                    <a:pt x="210" y="1003"/>
                  </a:lnTo>
                  <a:lnTo>
                    <a:pt x="228" y="976"/>
                  </a:lnTo>
                  <a:lnTo>
                    <a:pt x="226" y="979"/>
                  </a:lnTo>
                  <a:lnTo>
                    <a:pt x="223" y="982"/>
                  </a:lnTo>
                  <a:lnTo>
                    <a:pt x="221" y="986"/>
                  </a:lnTo>
                  <a:lnTo>
                    <a:pt x="218" y="989"/>
                  </a:lnTo>
                  <a:lnTo>
                    <a:pt x="216" y="990"/>
                  </a:lnTo>
                  <a:lnTo>
                    <a:pt x="216" y="992"/>
                  </a:lnTo>
                  <a:lnTo>
                    <a:pt x="214" y="992"/>
                  </a:lnTo>
                  <a:lnTo>
                    <a:pt x="214" y="992"/>
                  </a:lnTo>
                  <a:lnTo>
                    <a:pt x="216" y="990"/>
                  </a:lnTo>
                  <a:lnTo>
                    <a:pt x="217" y="988"/>
                  </a:lnTo>
                  <a:lnTo>
                    <a:pt x="218" y="985"/>
                  </a:lnTo>
                  <a:lnTo>
                    <a:pt x="219" y="982"/>
                  </a:lnTo>
                  <a:lnTo>
                    <a:pt x="219" y="982"/>
                  </a:lnTo>
                  <a:lnTo>
                    <a:pt x="216" y="988"/>
                  </a:lnTo>
                  <a:lnTo>
                    <a:pt x="212" y="992"/>
                  </a:lnTo>
                  <a:lnTo>
                    <a:pt x="208" y="995"/>
                  </a:lnTo>
                  <a:lnTo>
                    <a:pt x="205" y="998"/>
                  </a:lnTo>
                  <a:lnTo>
                    <a:pt x="203" y="999"/>
                  </a:lnTo>
                  <a:lnTo>
                    <a:pt x="210" y="988"/>
                  </a:lnTo>
                  <a:lnTo>
                    <a:pt x="208" y="990"/>
                  </a:lnTo>
                  <a:lnTo>
                    <a:pt x="206" y="992"/>
                  </a:lnTo>
                  <a:lnTo>
                    <a:pt x="206" y="992"/>
                  </a:lnTo>
                  <a:lnTo>
                    <a:pt x="206" y="990"/>
                  </a:lnTo>
                  <a:lnTo>
                    <a:pt x="183" y="1017"/>
                  </a:lnTo>
                  <a:lnTo>
                    <a:pt x="204" y="989"/>
                  </a:lnTo>
                  <a:lnTo>
                    <a:pt x="201" y="990"/>
                  </a:lnTo>
                  <a:lnTo>
                    <a:pt x="196" y="993"/>
                  </a:lnTo>
                  <a:lnTo>
                    <a:pt x="196" y="993"/>
                  </a:lnTo>
                  <a:lnTo>
                    <a:pt x="195" y="995"/>
                  </a:lnTo>
                  <a:lnTo>
                    <a:pt x="194" y="997"/>
                  </a:lnTo>
                  <a:lnTo>
                    <a:pt x="194" y="997"/>
                  </a:lnTo>
                  <a:lnTo>
                    <a:pt x="194" y="997"/>
                  </a:lnTo>
                  <a:lnTo>
                    <a:pt x="194" y="994"/>
                  </a:lnTo>
                  <a:lnTo>
                    <a:pt x="190" y="997"/>
                  </a:lnTo>
                  <a:lnTo>
                    <a:pt x="186" y="1001"/>
                  </a:lnTo>
                  <a:lnTo>
                    <a:pt x="182" y="1007"/>
                  </a:lnTo>
                  <a:lnTo>
                    <a:pt x="177" y="1012"/>
                  </a:lnTo>
                  <a:lnTo>
                    <a:pt x="174" y="1015"/>
                  </a:lnTo>
                  <a:lnTo>
                    <a:pt x="173" y="1016"/>
                  </a:lnTo>
                  <a:lnTo>
                    <a:pt x="173" y="1016"/>
                  </a:lnTo>
                  <a:lnTo>
                    <a:pt x="173" y="1016"/>
                  </a:lnTo>
                  <a:lnTo>
                    <a:pt x="172" y="1017"/>
                  </a:lnTo>
                  <a:lnTo>
                    <a:pt x="182" y="1001"/>
                  </a:lnTo>
                  <a:lnTo>
                    <a:pt x="174" y="1004"/>
                  </a:lnTo>
                  <a:lnTo>
                    <a:pt x="163" y="1019"/>
                  </a:lnTo>
                  <a:lnTo>
                    <a:pt x="152" y="1034"/>
                  </a:lnTo>
                  <a:lnTo>
                    <a:pt x="165" y="1011"/>
                  </a:lnTo>
                  <a:lnTo>
                    <a:pt x="159" y="1020"/>
                  </a:lnTo>
                  <a:lnTo>
                    <a:pt x="152" y="1028"/>
                  </a:lnTo>
                  <a:lnTo>
                    <a:pt x="148" y="1033"/>
                  </a:lnTo>
                  <a:lnTo>
                    <a:pt x="147" y="1035"/>
                  </a:lnTo>
                  <a:lnTo>
                    <a:pt x="148" y="1033"/>
                  </a:lnTo>
                  <a:lnTo>
                    <a:pt x="152" y="1025"/>
                  </a:lnTo>
                  <a:lnTo>
                    <a:pt x="159" y="1013"/>
                  </a:lnTo>
                  <a:lnTo>
                    <a:pt x="159" y="1011"/>
                  </a:lnTo>
                  <a:lnTo>
                    <a:pt x="158" y="1012"/>
                  </a:lnTo>
                  <a:lnTo>
                    <a:pt x="145" y="1029"/>
                  </a:lnTo>
                  <a:lnTo>
                    <a:pt x="133" y="1044"/>
                  </a:lnTo>
                  <a:lnTo>
                    <a:pt x="150" y="1017"/>
                  </a:lnTo>
                  <a:lnTo>
                    <a:pt x="148" y="1019"/>
                  </a:lnTo>
                  <a:lnTo>
                    <a:pt x="141" y="1028"/>
                  </a:lnTo>
                  <a:lnTo>
                    <a:pt x="134" y="1035"/>
                  </a:lnTo>
                  <a:lnTo>
                    <a:pt x="129" y="1039"/>
                  </a:lnTo>
                  <a:lnTo>
                    <a:pt x="128" y="1042"/>
                  </a:lnTo>
                  <a:lnTo>
                    <a:pt x="128" y="1041"/>
                  </a:lnTo>
                  <a:lnTo>
                    <a:pt x="129" y="1039"/>
                  </a:lnTo>
                  <a:lnTo>
                    <a:pt x="130" y="1037"/>
                  </a:lnTo>
                  <a:lnTo>
                    <a:pt x="133" y="1033"/>
                  </a:lnTo>
                  <a:lnTo>
                    <a:pt x="136" y="1029"/>
                  </a:lnTo>
                  <a:lnTo>
                    <a:pt x="139" y="1024"/>
                  </a:lnTo>
                  <a:lnTo>
                    <a:pt x="136" y="1025"/>
                  </a:lnTo>
                  <a:lnTo>
                    <a:pt x="129" y="1034"/>
                  </a:lnTo>
                  <a:lnTo>
                    <a:pt x="134" y="1025"/>
                  </a:lnTo>
                  <a:lnTo>
                    <a:pt x="128" y="1028"/>
                  </a:lnTo>
                  <a:lnTo>
                    <a:pt x="127" y="1029"/>
                  </a:lnTo>
                  <a:lnTo>
                    <a:pt x="110" y="1059"/>
                  </a:lnTo>
                  <a:lnTo>
                    <a:pt x="114" y="1046"/>
                  </a:lnTo>
                  <a:lnTo>
                    <a:pt x="119" y="1034"/>
                  </a:lnTo>
                  <a:lnTo>
                    <a:pt x="116" y="1035"/>
                  </a:lnTo>
                  <a:lnTo>
                    <a:pt x="110" y="1048"/>
                  </a:lnTo>
                  <a:lnTo>
                    <a:pt x="115" y="1037"/>
                  </a:lnTo>
                  <a:lnTo>
                    <a:pt x="114" y="1037"/>
                  </a:lnTo>
                  <a:lnTo>
                    <a:pt x="114" y="1038"/>
                  </a:lnTo>
                  <a:lnTo>
                    <a:pt x="114" y="1038"/>
                  </a:lnTo>
                  <a:lnTo>
                    <a:pt x="111" y="1039"/>
                  </a:lnTo>
                  <a:lnTo>
                    <a:pt x="106" y="1044"/>
                  </a:lnTo>
                  <a:lnTo>
                    <a:pt x="105" y="1048"/>
                  </a:lnTo>
                  <a:lnTo>
                    <a:pt x="105" y="1047"/>
                  </a:lnTo>
                  <a:lnTo>
                    <a:pt x="93" y="1069"/>
                  </a:lnTo>
                  <a:lnTo>
                    <a:pt x="90" y="1075"/>
                  </a:lnTo>
                  <a:lnTo>
                    <a:pt x="87" y="1083"/>
                  </a:lnTo>
                  <a:lnTo>
                    <a:pt x="85" y="1092"/>
                  </a:lnTo>
                  <a:lnTo>
                    <a:pt x="83" y="1100"/>
                  </a:lnTo>
                  <a:lnTo>
                    <a:pt x="83" y="1116"/>
                  </a:lnTo>
                  <a:lnTo>
                    <a:pt x="87" y="1130"/>
                  </a:lnTo>
                  <a:lnTo>
                    <a:pt x="90" y="1143"/>
                  </a:lnTo>
                  <a:lnTo>
                    <a:pt x="88" y="1144"/>
                  </a:lnTo>
                  <a:lnTo>
                    <a:pt x="90" y="1157"/>
                  </a:lnTo>
                  <a:lnTo>
                    <a:pt x="93" y="1170"/>
                  </a:lnTo>
                  <a:lnTo>
                    <a:pt x="93" y="1171"/>
                  </a:lnTo>
                  <a:lnTo>
                    <a:pt x="97" y="1179"/>
                  </a:lnTo>
                  <a:lnTo>
                    <a:pt x="100" y="1187"/>
                  </a:lnTo>
                  <a:lnTo>
                    <a:pt x="98" y="1193"/>
                  </a:lnTo>
                  <a:lnTo>
                    <a:pt x="92" y="1199"/>
                  </a:lnTo>
                  <a:lnTo>
                    <a:pt x="83" y="1205"/>
                  </a:lnTo>
                  <a:lnTo>
                    <a:pt x="75" y="1203"/>
                  </a:lnTo>
                  <a:lnTo>
                    <a:pt x="70" y="1199"/>
                  </a:lnTo>
                  <a:lnTo>
                    <a:pt x="65" y="1193"/>
                  </a:lnTo>
                  <a:lnTo>
                    <a:pt x="61" y="1189"/>
                  </a:lnTo>
                  <a:lnTo>
                    <a:pt x="61" y="1189"/>
                  </a:lnTo>
                  <a:lnTo>
                    <a:pt x="53" y="1184"/>
                  </a:lnTo>
                  <a:lnTo>
                    <a:pt x="47" y="1179"/>
                  </a:lnTo>
                  <a:lnTo>
                    <a:pt x="41" y="1174"/>
                  </a:lnTo>
                  <a:lnTo>
                    <a:pt x="36" y="1167"/>
                  </a:lnTo>
                  <a:lnTo>
                    <a:pt x="32" y="1166"/>
                  </a:lnTo>
                  <a:lnTo>
                    <a:pt x="29" y="1163"/>
                  </a:lnTo>
                  <a:lnTo>
                    <a:pt x="25" y="1161"/>
                  </a:lnTo>
                  <a:lnTo>
                    <a:pt x="22" y="1157"/>
                  </a:lnTo>
                  <a:lnTo>
                    <a:pt x="21" y="1153"/>
                  </a:lnTo>
                  <a:lnTo>
                    <a:pt x="18" y="1141"/>
                  </a:lnTo>
                  <a:lnTo>
                    <a:pt x="20" y="1130"/>
                  </a:lnTo>
                  <a:lnTo>
                    <a:pt x="23" y="1118"/>
                  </a:lnTo>
                  <a:lnTo>
                    <a:pt x="23" y="1116"/>
                  </a:lnTo>
                  <a:lnTo>
                    <a:pt x="20" y="1086"/>
                  </a:lnTo>
                  <a:lnTo>
                    <a:pt x="18" y="1082"/>
                  </a:lnTo>
                  <a:lnTo>
                    <a:pt x="12" y="1060"/>
                  </a:lnTo>
                  <a:lnTo>
                    <a:pt x="7" y="1050"/>
                  </a:lnTo>
                  <a:lnTo>
                    <a:pt x="3" y="1039"/>
                  </a:lnTo>
                  <a:lnTo>
                    <a:pt x="2" y="1032"/>
                  </a:lnTo>
                  <a:lnTo>
                    <a:pt x="2" y="1025"/>
                  </a:lnTo>
                  <a:lnTo>
                    <a:pt x="0" y="1017"/>
                  </a:lnTo>
                  <a:lnTo>
                    <a:pt x="4" y="1008"/>
                  </a:lnTo>
                  <a:lnTo>
                    <a:pt x="14" y="1002"/>
                  </a:lnTo>
                  <a:lnTo>
                    <a:pt x="26" y="998"/>
                  </a:lnTo>
                  <a:lnTo>
                    <a:pt x="39" y="998"/>
                  </a:lnTo>
                  <a:lnTo>
                    <a:pt x="51" y="997"/>
                  </a:lnTo>
                  <a:lnTo>
                    <a:pt x="62" y="994"/>
                  </a:lnTo>
                  <a:lnTo>
                    <a:pt x="79" y="985"/>
                  </a:lnTo>
                  <a:lnTo>
                    <a:pt x="94" y="976"/>
                  </a:lnTo>
                  <a:lnTo>
                    <a:pt x="106" y="966"/>
                  </a:lnTo>
                  <a:lnTo>
                    <a:pt x="116" y="957"/>
                  </a:lnTo>
                  <a:lnTo>
                    <a:pt x="136" y="937"/>
                  </a:lnTo>
                  <a:lnTo>
                    <a:pt x="154" y="918"/>
                  </a:lnTo>
                  <a:lnTo>
                    <a:pt x="173" y="899"/>
                  </a:lnTo>
                  <a:lnTo>
                    <a:pt x="194" y="880"/>
                  </a:lnTo>
                  <a:lnTo>
                    <a:pt x="216" y="866"/>
                  </a:lnTo>
                  <a:lnTo>
                    <a:pt x="239" y="857"/>
                  </a:lnTo>
                  <a:lnTo>
                    <a:pt x="244" y="855"/>
                  </a:lnTo>
                  <a:lnTo>
                    <a:pt x="248" y="844"/>
                  </a:lnTo>
                  <a:lnTo>
                    <a:pt x="248" y="839"/>
                  </a:lnTo>
                  <a:lnTo>
                    <a:pt x="248" y="834"/>
                  </a:lnTo>
                  <a:lnTo>
                    <a:pt x="246" y="829"/>
                  </a:lnTo>
                  <a:lnTo>
                    <a:pt x="245" y="831"/>
                  </a:lnTo>
                  <a:lnTo>
                    <a:pt x="245" y="837"/>
                  </a:lnTo>
                  <a:lnTo>
                    <a:pt x="244" y="839"/>
                  </a:lnTo>
                  <a:lnTo>
                    <a:pt x="244" y="839"/>
                  </a:lnTo>
                  <a:lnTo>
                    <a:pt x="244" y="839"/>
                  </a:lnTo>
                  <a:lnTo>
                    <a:pt x="244" y="837"/>
                  </a:lnTo>
                  <a:lnTo>
                    <a:pt x="244" y="831"/>
                  </a:lnTo>
                  <a:lnTo>
                    <a:pt x="244" y="829"/>
                  </a:lnTo>
                  <a:lnTo>
                    <a:pt x="244" y="825"/>
                  </a:lnTo>
                  <a:lnTo>
                    <a:pt x="243" y="822"/>
                  </a:lnTo>
                  <a:lnTo>
                    <a:pt x="241" y="829"/>
                  </a:lnTo>
                  <a:lnTo>
                    <a:pt x="241" y="828"/>
                  </a:lnTo>
                  <a:lnTo>
                    <a:pt x="241" y="825"/>
                  </a:lnTo>
                  <a:lnTo>
                    <a:pt x="241" y="822"/>
                  </a:lnTo>
                  <a:lnTo>
                    <a:pt x="241" y="818"/>
                  </a:lnTo>
                  <a:lnTo>
                    <a:pt x="239" y="812"/>
                  </a:lnTo>
                  <a:lnTo>
                    <a:pt x="237" y="817"/>
                  </a:lnTo>
                  <a:lnTo>
                    <a:pt x="236" y="821"/>
                  </a:lnTo>
                  <a:lnTo>
                    <a:pt x="235" y="825"/>
                  </a:lnTo>
                  <a:lnTo>
                    <a:pt x="235" y="825"/>
                  </a:lnTo>
                  <a:lnTo>
                    <a:pt x="235" y="825"/>
                  </a:lnTo>
                  <a:lnTo>
                    <a:pt x="235" y="822"/>
                  </a:lnTo>
                  <a:lnTo>
                    <a:pt x="236" y="818"/>
                  </a:lnTo>
                  <a:lnTo>
                    <a:pt x="236" y="813"/>
                  </a:lnTo>
                  <a:lnTo>
                    <a:pt x="236" y="807"/>
                  </a:lnTo>
                  <a:lnTo>
                    <a:pt x="236" y="806"/>
                  </a:lnTo>
                  <a:lnTo>
                    <a:pt x="234" y="798"/>
                  </a:lnTo>
                  <a:lnTo>
                    <a:pt x="232" y="804"/>
                  </a:lnTo>
                  <a:lnTo>
                    <a:pt x="232" y="808"/>
                  </a:lnTo>
                  <a:lnTo>
                    <a:pt x="231" y="811"/>
                  </a:lnTo>
                  <a:lnTo>
                    <a:pt x="231" y="812"/>
                  </a:lnTo>
                  <a:lnTo>
                    <a:pt x="231" y="813"/>
                  </a:lnTo>
                  <a:lnTo>
                    <a:pt x="231" y="812"/>
                  </a:lnTo>
                  <a:lnTo>
                    <a:pt x="231" y="809"/>
                  </a:lnTo>
                  <a:lnTo>
                    <a:pt x="231" y="804"/>
                  </a:lnTo>
                  <a:lnTo>
                    <a:pt x="231" y="798"/>
                  </a:lnTo>
                  <a:lnTo>
                    <a:pt x="231" y="790"/>
                  </a:lnTo>
                  <a:lnTo>
                    <a:pt x="230" y="786"/>
                  </a:lnTo>
                  <a:lnTo>
                    <a:pt x="228" y="795"/>
                  </a:lnTo>
                  <a:lnTo>
                    <a:pt x="228" y="799"/>
                  </a:lnTo>
                  <a:lnTo>
                    <a:pt x="227" y="802"/>
                  </a:lnTo>
                  <a:lnTo>
                    <a:pt x="227" y="802"/>
                  </a:lnTo>
                  <a:lnTo>
                    <a:pt x="227" y="802"/>
                  </a:lnTo>
                  <a:lnTo>
                    <a:pt x="227" y="799"/>
                  </a:lnTo>
                  <a:lnTo>
                    <a:pt x="227" y="795"/>
                  </a:lnTo>
                  <a:lnTo>
                    <a:pt x="227" y="790"/>
                  </a:lnTo>
                  <a:lnTo>
                    <a:pt x="227" y="784"/>
                  </a:lnTo>
                  <a:lnTo>
                    <a:pt x="228" y="777"/>
                  </a:lnTo>
                  <a:lnTo>
                    <a:pt x="227" y="772"/>
                  </a:lnTo>
                  <a:lnTo>
                    <a:pt x="226" y="776"/>
                  </a:lnTo>
                  <a:lnTo>
                    <a:pt x="227" y="778"/>
                  </a:lnTo>
                  <a:lnTo>
                    <a:pt x="227" y="781"/>
                  </a:lnTo>
                  <a:lnTo>
                    <a:pt x="227" y="781"/>
                  </a:lnTo>
                  <a:lnTo>
                    <a:pt x="227" y="781"/>
                  </a:lnTo>
                  <a:lnTo>
                    <a:pt x="226" y="780"/>
                  </a:lnTo>
                  <a:lnTo>
                    <a:pt x="226" y="781"/>
                  </a:lnTo>
                  <a:lnTo>
                    <a:pt x="225" y="784"/>
                  </a:lnTo>
                  <a:lnTo>
                    <a:pt x="225" y="786"/>
                  </a:lnTo>
                  <a:lnTo>
                    <a:pt x="225" y="786"/>
                  </a:lnTo>
                  <a:lnTo>
                    <a:pt x="225" y="786"/>
                  </a:lnTo>
                  <a:lnTo>
                    <a:pt x="223" y="784"/>
                  </a:lnTo>
                  <a:lnTo>
                    <a:pt x="223" y="781"/>
                  </a:lnTo>
                  <a:lnTo>
                    <a:pt x="223" y="777"/>
                  </a:lnTo>
                  <a:lnTo>
                    <a:pt x="222" y="775"/>
                  </a:lnTo>
                  <a:lnTo>
                    <a:pt x="219" y="772"/>
                  </a:lnTo>
                  <a:lnTo>
                    <a:pt x="218" y="777"/>
                  </a:lnTo>
                  <a:lnTo>
                    <a:pt x="217" y="777"/>
                  </a:lnTo>
                  <a:lnTo>
                    <a:pt x="217" y="775"/>
                  </a:lnTo>
                  <a:lnTo>
                    <a:pt x="217" y="771"/>
                  </a:lnTo>
                  <a:lnTo>
                    <a:pt x="217" y="768"/>
                  </a:lnTo>
                  <a:lnTo>
                    <a:pt x="217" y="766"/>
                  </a:lnTo>
                  <a:lnTo>
                    <a:pt x="216" y="763"/>
                  </a:lnTo>
                  <a:lnTo>
                    <a:pt x="214" y="766"/>
                  </a:lnTo>
                  <a:lnTo>
                    <a:pt x="214" y="768"/>
                  </a:lnTo>
                  <a:lnTo>
                    <a:pt x="213" y="771"/>
                  </a:lnTo>
                  <a:lnTo>
                    <a:pt x="213" y="771"/>
                  </a:lnTo>
                  <a:lnTo>
                    <a:pt x="213" y="771"/>
                  </a:lnTo>
                  <a:lnTo>
                    <a:pt x="213" y="768"/>
                  </a:lnTo>
                  <a:lnTo>
                    <a:pt x="213" y="766"/>
                  </a:lnTo>
                  <a:lnTo>
                    <a:pt x="213" y="760"/>
                  </a:lnTo>
                  <a:lnTo>
                    <a:pt x="213" y="755"/>
                  </a:lnTo>
                  <a:lnTo>
                    <a:pt x="212" y="754"/>
                  </a:lnTo>
                  <a:lnTo>
                    <a:pt x="212" y="757"/>
                  </a:lnTo>
                  <a:lnTo>
                    <a:pt x="212" y="759"/>
                  </a:lnTo>
                  <a:lnTo>
                    <a:pt x="212" y="762"/>
                  </a:lnTo>
                  <a:lnTo>
                    <a:pt x="212" y="762"/>
                  </a:lnTo>
                  <a:lnTo>
                    <a:pt x="212" y="762"/>
                  </a:lnTo>
                  <a:lnTo>
                    <a:pt x="210" y="759"/>
                  </a:lnTo>
                  <a:lnTo>
                    <a:pt x="210" y="757"/>
                  </a:lnTo>
                  <a:lnTo>
                    <a:pt x="209" y="751"/>
                  </a:lnTo>
                  <a:lnTo>
                    <a:pt x="209" y="750"/>
                  </a:lnTo>
                  <a:lnTo>
                    <a:pt x="209" y="750"/>
                  </a:lnTo>
                  <a:lnTo>
                    <a:pt x="208" y="754"/>
                  </a:lnTo>
                  <a:lnTo>
                    <a:pt x="206" y="758"/>
                  </a:lnTo>
                  <a:lnTo>
                    <a:pt x="206" y="759"/>
                  </a:lnTo>
                  <a:lnTo>
                    <a:pt x="206" y="760"/>
                  </a:lnTo>
                  <a:lnTo>
                    <a:pt x="206" y="759"/>
                  </a:lnTo>
                  <a:lnTo>
                    <a:pt x="206" y="758"/>
                  </a:lnTo>
                  <a:lnTo>
                    <a:pt x="205" y="754"/>
                  </a:lnTo>
                  <a:lnTo>
                    <a:pt x="205" y="750"/>
                  </a:lnTo>
                  <a:lnTo>
                    <a:pt x="205" y="746"/>
                  </a:lnTo>
                  <a:lnTo>
                    <a:pt x="203" y="742"/>
                  </a:lnTo>
                  <a:lnTo>
                    <a:pt x="203" y="744"/>
                  </a:lnTo>
                  <a:lnTo>
                    <a:pt x="203" y="747"/>
                  </a:lnTo>
                  <a:lnTo>
                    <a:pt x="203" y="749"/>
                  </a:lnTo>
                  <a:lnTo>
                    <a:pt x="203" y="750"/>
                  </a:lnTo>
                  <a:lnTo>
                    <a:pt x="201" y="749"/>
                  </a:lnTo>
                  <a:lnTo>
                    <a:pt x="201" y="747"/>
                  </a:lnTo>
                  <a:lnTo>
                    <a:pt x="200" y="744"/>
                  </a:lnTo>
                  <a:lnTo>
                    <a:pt x="200" y="741"/>
                  </a:lnTo>
                  <a:lnTo>
                    <a:pt x="200" y="737"/>
                  </a:lnTo>
                  <a:lnTo>
                    <a:pt x="199" y="736"/>
                  </a:lnTo>
                  <a:lnTo>
                    <a:pt x="196" y="729"/>
                  </a:lnTo>
                  <a:lnTo>
                    <a:pt x="195" y="724"/>
                  </a:lnTo>
                  <a:lnTo>
                    <a:pt x="195" y="719"/>
                  </a:lnTo>
                  <a:lnTo>
                    <a:pt x="195" y="719"/>
                  </a:lnTo>
                  <a:lnTo>
                    <a:pt x="194" y="715"/>
                  </a:lnTo>
                  <a:lnTo>
                    <a:pt x="191" y="724"/>
                  </a:lnTo>
                  <a:lnTo>
                    <a:pt x="190" y="713"/>
                  </a:lnTo>
                  <a:lnTo>
                    <a:pt x="188" y="698"/>
                  </a:lnTo>
                  <a:lnTo>
                    <a:pt x="186" y="695"/>
                  </a:lnTo>
                  <a:lnTo>
                    <a:pt x="186" y="705"/>
                  </a:lnTo>
                  <a:lnTo>
                    <a:pt x="185" y="715"/>
                  </a:lnTo>
                  <a:lnTo>
                    <a:pt x="183" y="689"/>
                  </a:lnTo>
                  <a:lnTo>
                    <a:pt x="182" y="684"/>
                  </a:lnTo>
                  <a:lnTo>
                    <a:pt x="182" y="679"/>
                  </a:lnTo>
                  <a:lnTo>
                    <a:pt x="182" y="678"/>
                  </a:lnTo>
                  <a:lnTo>
                    <a:pt x="181" y="676"/>
                  </a:lnTo>
                  <a:lnTo>
                    <a:pt x="181" y="676"/>
                  </a:lnTo>
                  <a:lnTo>
                    <a:pt x="182" y="696"/>
                  </a:lnTo>
                  <a:lnTo>
                    <a:pt x="181" y="674"/>
                  </a:lnTo>
                  <a:lnTo>
                    <a:pt x="181" y="673"/>
                  </a:lnTo>
                  <a:lnTo>
                    <a:pt x="181" y="676"/>
                  </a:lnTo>
                  <a:lnTo>
                    <a:pt x="181" y="680"/>
                  </a:lnTo>
                  <a:lnTo>
                    <a:pt x="181" y="684"/>
                  </a:lnTo>
                  <a:lnTo>
                    <a:pt x="181" y="684"/>
                  </a:lnTo>
                  <a:lnTo>
                    <a:pt x="181" y="684"/>
                  </a:lnTo>
                  <a:lnTo>
                    <a:pt x="181" y="683"/>
                  </a:lnTo>
                  <a:lnTo>
                    <a:pt x="179" y="680"/>
                  </a:lnTo>
                  <a:lnTo>
                    <a:pt x="178" y="676"/>
                  </a:lnTo>
                  <a:lnTo>
                    <a:pt x="177" y="670"/>
                  </a:lnTo>
                  <a:lnTo>
                    <a:pt x="177" y="661"/>
                  </a:lnTo>
                  <a:lnTo>
                    <a:pt x="176" y="660"/>
                  </a:lnTo>
                  <a:lnTo>
                    <a:pt x="176" y="696"/>
                  </a:lnTo>
                  <a:lnTo>
                    <a:pt x="174" y="674"/>
                  </a:lnTo>
                  <a:lnTo>
                    <a:pt x="172" y="649"/>
                  </a:lnTo>
                  <a:lnTo>
                    <a:pt x="172" y="657"/>
                  </a:lnTo>
                  <a:lnTo>
                    <a:pt x="172" y="662"/>
                  </a:lnTo>
                  <a:lnTo>
                    <a:pt x="173" y="666"/>
                  </a:lnTo>
                  <a:lnTo>
                    <a:pt x="173" y="669"/>
                  </a:lnTo>
                  <a:lnTo>
                    <a:pt x="173" y="671"/>
                  </a:lnTo>
                  <a:lnTo>
                    <a:pt x="173" y="671"/>
                  </a:lnTo>
                  <a:lnTo>
                    <a:pt x="173" y="671"/>
                  </a:lnTo>
                  <a:lnTo>
                    <a:pt x="172" y="669"/>
                  </a:lnTo>
                  <a:lnTo>
                    <a:pt x="172" y="666"/>
                  </a:lnTo>
                  <a:lnTo>
                    <a:pt x="170" y="662"/>
                  </a:lnTo>
                  <a:lnTo>
                    <a:pt x="169" y="660"/>
                  </a:lnTo>
                  <a:lnTo>
                    <a:pt x="169" y="657"/>
                  </a:lnTo>
                  <a:lnTo>
                    <a:pt x="168" y="676"/>
                  </a:lnTo>
                  <a:lnTo>
                    <a:pt x="167" y="656"/>
                  </a:lnTo>
                  <a:lnTo>
                    <a:pt x="165" y="633"/>
                  </a:lnTo>
                  <a:lnTo>
                    <a:pt x="165" y="630"/>
                  </a:lnTo>
                  <a:lnTo>
                    <a:pt x="165" y="624"/>
                  </a:lnTo>
                  <a:lnTo>
                    <a:pt x="164" y="626"/>
                  </a:lnTo>
                  <a:lnTo>
                    <a:pt x="164" y="626"/>
                  </a:lnTo>
                  <a:lnTo>
                    <a:pt x="164" y="625"/>
                  </a:lnTo>
                  <a:lnTo>
                    <a:pt x="164" y="624"/>
                  </a:lnTo>
                  <a:lnTo>
                    <a:pt x="164" y="620"/>
                  </a:lnTo>
                  <a:lnTo>
                    <a:pt x="164" y="616"/>
                  </a:lnTo>
                  <a:lnTo>
                    <a:pt x="164" y="616"/>
                  </a:lnTo>
                  <a:lnTo>
                    <a:pt x="164" y="612"/>
                  </a:lnTo>
                  <a:lnTo>
                    <a:pt x="164" y="620"/>
                  </a:lnTo>
                  <a:lnTo>
                    <a:pt x="161" y="609"/>
                  </a:lnTo>
                  <a:lnTo>
                    <a:pt x="160" y="596"/>
                  </a:lnTo>
                  <a:lnTo>
                    <a:pt x="159" y="581"/>
                  </a:lnTo>
                  <a:lnTo>
                    <a:pt x="159" y="582"/>
                  </a:lnTo>
                  <a:lnTo>
                    <a:pt x="159" y="581"/>
                  </a:lnTo>
                  <a:lnTo>
                    <a:pt x="160" y="560"/>
                  </a:lnTo>
                  <a:lnTo>
                    <a:pt x="161" y="540"/>
                  </a:lnTo>
                  <a:lnTo>
                    <a:pt x="165" y="506"/>
                  </a:lnTo>
                  <a:lnTo>
                    <a:pt x="172" y="472"/>
                  </a:lnTo>
                  <a:lnTo>
                    <a:pt x="172" y="471"/>
                  </a:lnTo>
                  <a:lnTo>
                    <a:pt x="169" y="479"/>
                  </a:lnTo>
                  <a:lnTo>
                    <a:pt x="167" y="489"/>
                  </a:lnTo>
                  <a:lnTo>
                    <a:pt x="165" y="497"/>
                  </a:lnTo>
                  <a:lnTo>
                    <a:pt x="163" y="505"/>
                  </a:lnTo>
                  <a:lnTo>
                    <a:pt x="161" y="511"/>
                  </a:lnTo>
                  <a:lnTo>
                    <a:pt x="160" y="523"/>
                  </a:lnTo>
                  <a:lnTo>
                    <a:pt x="160" y="512"/>
                  </a:lnTo>
                  <a:lnTo>
                    <a:pt x="159" y="516"/>
                  </a:lnTo>
                  <a:lnTo>
                    <a:pt x="159" y="519"/>
                  </a:lnTo>
                  <a:lnTo>
                    <a:pt x="158" y="521"/>
                  </a:lnTo>
                  <a:lnTo>
                    <a:pt x="158" y="521"/>
                  </a:lnTo>
                  <a:lnTo>
                    <a:pt x="158" y="519"/>
                  </a:lnTo>
                  <a:lnTo>
                    <a:pt x="159" y="510"/>
                  </a:lnTo>
                  <a:lnTo>
                    <a:pt x="161" y="496"/>
                  </a:lnTo>
                  <a:lnTo>
                    <a:pt x="163" y="487"/>
                  </a:lnTo>
                  <a:lnTo>
                    <a:pt x="164" y="476"/>
                  </a:lnTo>
                  <a:lnTo>
                    <a:pt x="158" y="484"/>
                  </a:lnTo>
                  <a:lnTo>
                    <a:pt x="152" y="503"/>
                  </a:lnTo>
                  <a:lnTo>
                    <a:pt x="145" y="523"/>
                  </a:lnTo>
                  <a:lnTo>
                    <a:pt x="136" y="538"/>
                  </a:lnTo>
                  <a:lnTo>
                    <a:pt x="134" y="527"/>
                  </a:lnTo>
                  <a:lnTo>
                    <a:pt x="136" y="515"/>
                  </a:lnTo>
                  <a:lnTo>
                    <a:pt x="132" y="537"/>
                  </a:lnTo>
                  <a:lnTo>
                    <a:pt x="123" y="558"/>
                  </a:lnTo>
                  <a:lnTo>
                    <a:pt x="112" y="578"/>
                  </a:lnTo>
                  <a:lnTo>
                    <a:pt x="101" y="598"/>
                  </a:lnTo>
                  <a:lnTo>
                    <a:pt x="92" y="618"/>
                  </a:lnTo>
                  <a:lnTo>
                    <a:pt x="88" y="640"/>
                  </a:lnTo>
                  <a:lnTo>
                    <a:pt x="87" y="643"/>
                  </a:lnTo>
                  <a:lnTo>
                    <a:pt x="85" y="645"/>
                  </a:lnTo>
                  <a:lnTo>
                    <a:pt x="85" y="660"/>
                  </a:lnTo>
                  <a:lnTo>
                    <a:pt x="85" y="658"/>
                  </a:lnTo>
                  <a:lnTo>
                    <a:pt x="85" y="662"/>
                  </a:lnTo>
                  <a:lnTo>
                    <a:pt x="85" y="664"/>
                  </a:lnTo>
                  <a:lnTo>
                    <a:pt x="85" y="664"/>
                  </a:lnTo>
                  <a:lnTo>
                    <a:pt x="88" y="674"/>
                  </a:lnTo>
                  <a:lnTo>
                    <a:pt x="93" y="683"/>
                  </a:lnTo>
                  <a:lnTo>
                    <a:pt x="98" y="692"/>
                  </a:lnTo>
                  <a:lnTo>
                    <a:pt x="102" y="702"/>
                  </a:lnTo>
                  <a:lnTo>
                    <a:pt x="102" y="714"/>
                  </a:lnTo>
                  <a:lnTo>
                    <a:pt x="100" y="724"/>
                  </a:lnTo>
                  <a:lnTo>
                    <a:pt x="98" y="733"/>
                  </a:lnTo>
                  <a:lnTo>
                    <a:pt x="98" y="744"/>
                  </a:lnTo>
                  <a:lnTo>
                    <a:pt x="101" y="755"/>
                  </a:lnTo>
                  <a:lnTo>
                    <a:pt x="93" y="755"/>
                  </a:lnTo>
                  <a:lnTo>
                    <a:pt x="87" y="751"/>
                  </a:lnTo>
                  <a:lnTo>
                    <a:pt x="83" y="745"/>
                  </a:lnTo>
                  <a:lnTo>
                    <a:pt x="81" y="736"/>
                  </a:lnTo>
                  <a:lnTo>
                    <a:pt x="80" y="727"/>
                  </a:lnTo>
                  <a:lnTo>
                    <a:pt x="79" y="718"/>
                  </a:lnTo>
                  <a:lnTo>
                    <a:pt x="79" y="711"/>
                  </a:lnTo>
                  <a:lnTo>
                    <a:pt x="76" y="713"/>
                  </a:lnTo>
                  <a:lnTo>
                    <a:pt x="76" y="714"/>
                  </a:lnTo>
                  <a:lnTo>
                    <a:pt x="75" y="715"/>
                  </a:lnTo>
                  <a:lnTo>
                    <a:pt x="75" y="716"/>
                  </a:lnTo>
                  <a:lnTo>
                    <a:pt x="74" y="719"/>
                  </a:lnTo>
                  <a:lnTo>
                    <a:pt x="69" y="727"/>
                  </a:lnTo>
                  <a:lnTo>
                    <a:pt x="66" y="740"/>
                  </a:lnTo>
                  <a:lnTo>
                    <a:pt x="65" y="753"/>
                  </a:lnTo>
                  <a:lnTo>
                    <a:pt x="65" y="766"/>
                  </a:lnTo>
                  <a:lnTo>
                    <a:pt x="67" y="769"/>
                  </a:lnTo>
                  <a:lnTo>
                    <a:pt x="69" y="773"/>
                  </a:lnTo>
                  <a:lnTo>
                    <a:pt x="67" y="777"/>
                  </a:lnTo>
                  <a:lnTo>
                    <a:pt x="63" y="778"/>
                  </a:lnTo>
                  <a:lnTo>
                    <a:pt x="60" y="777"/>
                  </a:lnTo>
                  <a:lnTo>
                    <a:pt x="57" y="776"/>
                  </a:lnTo>
                  <a:lnTo>
                    <a:pt x="54" y="773"/>
                  </a:lnTo>
                  <a:lnTo>
                    <a:pt x="53" y="769"/>
                  </a:lnTo>
                  <a:lnTo>
                    <a:pt x="52" y="767"/>
                  </a:lnTo>
                  <a:lnTo>
                    <a:pt x="49" y="764"/>
                  </a:lnTo>
                  <a:lnTo>
                    <a:pt x="49" y="763"/>
                  </a:lnTo>
                  <a:lnTo>
                    <a:pt x="48" y="762"/>
                  </a:lnTo>
                  <a:lnTo>
                    <a:pt x="47" y="759"/>
                  </a:lnTo>
                  <a:lnTo>
                    <a:pt x="48" y="760"/>
                  </a:lnTo>
                  <a:lnTo>
                    <a:pt x="47" y="751"/>
                  </a:lnTo>
                  <a:lnTo>
                    <a:pt x="45" y="742"/>
                  </a:lnTo>
                  <a:lnTo>
                    <a:pt x="45" y="749"/>
                  </a:lnTo>
                  <a:lnTo>
                    <a:pt x="45" y="755"/>
                  </a:lnTo>
                  <a:lnTo>
                    <a:pt x="38" y="747"/>
                  </a:lnTo>
                  <a:lnTo>
                    <a:pt x="34" y="736"/>
                  </a:lnTo>
                  <a:lnTo>
                    <a:pt x="31" y="726"/>
                  </a:lnTo>
                  <a:lnTo>
                    <a:pt x="34" y="742"/>
                  </a:lnTo>
                  <a:lnTo>
                    <a:pt x="34" y="760"/>
                  </a:lnTo>
                  <a:lnTo>
                    <a:pt x="26" y="742"/>
                  </a:lnTo>
                  <a:lnTo>
                    <a:pt x="21" y="724"/>
                  </a:lnTo>
                  <a:lnTo>
                    <a:pt x="17" y="704"/>
                  </a:lnTo>
                  <a:lnTo>
                    <a:pt x="16" y="685"/>
                  </a:lnTo>
                  <a:lnTo>
                    <a:pt x="17" y="670"/>
                  </a:lnTo>
                  <a:lnTo>
                    <a:pt x="22" y="657"/>
                  </a:lnTo>
                  <a:lnTo>
                    <a:pt x="27" y="644"/>
                  </a:lnTo>
                  <a:lnTo>
                    <a:pt x="31" y="630"/>
                  </a:lnTo>
                  <a:lnTo>
                    <a:pt x="29" y="636"/>
                  </a:lnTo>
                  <a:lnTo>
                    <a:pt x="26" y="642"/>
                  </a:lnTo>
                  <a:lnTo>
                    <a:pt x="23" y="648"/>
                  </a:lnTo>
                  <a:lnTo>
                    <a:pt x="26" y="626"/>
                  </a:lnTo>
                  <a:lnTo>
                    <a:pt x="34" y="604"/>
                  </a:lnTo>
                  <a:lnTo>
                    <a:pt x="45" y="585"/>
                  </a:lnTo>
                  <a:lnTo>
                    <a:pt x="35" y="594"/>
                  </a:lnTo>
                  <a:lnTo>
                    <a:pt x="27" y="603"/>
                  </a:lnTo>
                  <a:lnTo>
                    <a:pt x="20" y="614"/>
                  </a:lnTo>
                  <a:lnTo>
                    <a:pt x="23" y="599"/>
                  </a:lnTo>
                  <a:lnTo>
                    <a:pt x="30" y="582"/>
                  </a:lnTo>
                  <a:lnTo>
                    <a:pt x="40" y="565"/>
                  </a:lnTo>
                  <a:lnTo>
                    <a:pt x="52" y="549"/>
                  </a:lnTo>
                  <a:lnTo>
                    <a:pt x="44" y="556"/>
                  </a:lnTo>
                  <a:lnTo>
                    <a:pt x="44" y="546"/>
                  </a:lnTo>
                  <a:lnTo>
                    <a:pt x="49" y="537"/>
                  </a:lnTo>
                  <a:lnTo>
                    <a:pt x="56" y="527"/>
                  </a:lnTo>
                  <a:lnTo>
                    <a:pt x="63" y="507"/>
                  </a:lnTo>
                  <a:lnTo>
                    <a:pt x="70" y="489"/>
                  </a:lnTo>
                  <a:lnTo>
                    <a:pt x="67" y="493"/>
                  </a:lnTo>
                  <a:lnTo>
                    <a:pt x="63" y="498"/>
                  </a:lnTo>
                  <a:lnTo>
                    <a:pt x="60" y="505"/>
                  </a:lnTo>
                  <a:lnTo>
                    <a:pt x="69" y="485"/>
                  </a:lnTo>
                  <a:lnTo>
                    <a:pt x="80" y="465"/>
                  </a:lnTo>
                  <a:lnTo>
                    <a:pt x="74" y="471"/>
                  </a:lnTo>
                  <a:lnTo>
                    <a:pt x="80" y="456"/>
                  </a:lnTo>
                  <a:lnTo>
                    <a:pt x="90" y="441"/>
                  </a:lnTo>
                  <a:lnTo>
                    <a:pt x="93" y="435"/>
                  </a:lnTo>
                  <a:lnTo>
                    <a:pt x="76" y="454"/>
                  </a:lnTo>
                  <a:lnTo>
                    <a:pt x="87" y="436"/>
                  </a:lnTo>
                  <a:lnTo>
                    <a:pt x="102" y="419"/>
                  </a:lnTo>
                  <a:lnTo>
                    <a:pt x="105" y="416"/>
                  </a:lnTo>
                  <a:lnTo>
                    <a:pt x="105" y="414"/>
                  </a:lnTo>
                  <a:lnTo>
                    <a:pt x="105" y="414"/>
                  </a:lnTo>
                  <a:lnTo>
                    <a:pt x="106" y="413"/>
                  </a:lnTo>
                  <a:lnTo>
                    <a:pt x="106" y="412"/>
                  </a:lnTo>
                  <a:lnTo>
                    <a:pt x="103" y="414"/>
                  </a:lnTo>
                  <a:lnTo>
                    <a:pt x="100" y="417"/>
                  </a:lnTo>
                  <a:lnTo>
                    <a:pt x="107" y="407"/>
                  </a:lnTo>
                  <a:lnTo>
                    <a:pt x="109" y="403"/>
                  </a:lnTo>
                  <a:lnTo>
                    <a:pt x="102" y="413"/>
                  </a:lnTo>
                  <a:lnTo>
                    <a:pt x="109" y="400"/>
                  </a:lnTo>
                  <a:lnTo>
                    <a:pt x="109" y="391"/>
                  </a:lnTo>
                  <a:lnTo>
                    <a:pt x="106" y="395"/>
                  </a:lnTo>
                  <a:lnTo>
                    <a:pt x="103" y="399"/>
                  </a:lnTo>
                  <a:lnTo>
                    <a:pt x="101" y="403"/>
                  </a:lnTo>
                  <a:lnTo>
                    <a:pt x="103" y="392"/>
                  </a:lnTo>
                  <a:lnTo>
                    <a:pt x="110" y="381"/>
                  </a:lnTo>
                  <a:lnTo>
                    <a:pt x="119" y="367"/>
                  </a:lnTo>
                  <a:lnTo>
                    <a:pt x="119" y="365"/>
                  </a:lnTo>
                  <a:lnTo>
                    <a:pt x="116" y="370"/>
                  </a:lnTo>
                  <a:lnTo>
                    <a:pt x="119" y="363"/>
                  </a:lnTo>
                  <a:lnTo>
                    <a:pt x="123" y="345"/>
                  </a:lnTo>
                  <a:lnTo>
                    <a:pt x="132" y="330"/>
                  </a:lnTo>
                  <a:lnTo>
                    <a:pt x="127" y="336"/>
                  </a:lnTo>
                  <a:lnTo>
                    <a:pt x="123" y="342"/>
                  </a:lnTo>
                  <a:lnTo>
                    <a:pt x="116" y="359"/>
                  </a:lnTo>
                  <a:lnTo>
                    <a:pt x="116" y="354"/>
                  </a:lnTo>
                  <a:lnTo>
                    <a:pt x="118" y="348"/>
                  </a:lnTo>
                  <a:lnTo>
                    <a:pt x="110" y="360"/>
                  </a:lnTo>
                  <a:lnTo>
                    <a:pt x="118" y="341"/>
                  </a:lnTo>
                  <a:lnTo>
                    <a:pt x="128" y="324"/>
                  </a:lnTo>
                  <a:lnTo>
                    <a:pt x="132" y="316"/>
                  </a:lnTo>
                  <a:lnTo>
                    <a:pt x="128" y="320"/>
                  </a:lnTo>
                  <a:lnTo>
                    <a:pt x="112" y="339"/>
                  </a:lnTo>
                  <a:lnTo>
                    <a:pt x="114" y="333"/>
                  </a:lnTo>
                  <a:lnTo>
                    <a:pt x="116" y="327"/>
                  </a:lnTo>
                  <a:lnTo>
                    <a:pt x="119" y="321"/>
                  </a:lnTo>
                  <a:lnTo>
                    <a:pt x="112" y="328"/>
                  </a:lnTo>
                  <a:lnTo>
                    <a:pt x="119" y="315"/>
                  </a:lnTo>
                  <a:lnTo>
                    <a:pt x="129" y="303"/>
                  </a:lnTo>
                  <a:lnTo>
                    <a:pt x="130" y="297"/>
                  </a:lnTo>
                  <a:lnTo>
                    <a:pt x="134" y="290"/>
                  </a:lnTo>
                  <a:lnTo>
                    <a:pt x="138" y="284"/>
                  </a:lnTo>
                  <a:lnTo>
                    <a:pt x="128" y="290"/>
                  </a:lnTo>
                  <a:lnTo>
                    <a:pt x="136" y="280"/>
                  </a:lnTo>
                  <a:lnTo>
                    <a:pt x="145" y="270"/>
                  </a:lnTo>
                  <a:lnTo>
                    <a:pt x="154" y="253"/>
                  </a:lnTo>
                  <a:lnTo>
                    <a:pt x="167" y="236"/>
                  </a:lnTo>
                  <a:lnTo>
                    <a:pt x="185" y="224"/>
                  </a:lnTo>
                  <a:lnTo>
                    <a:pt x="203" y="217"/>
                  </a:lnTo>
                  <a:lnTo>
                    <a:pt x="209" y="208"/>
                  </a:lnTo>
                  <a:lnTo>
                    <a:pt x="214" y="199"/>
                  </a:lnTo>
                  <a:lnTo>
                    <a:pt x="221" y="188"/>
                  </a:lnTo>
                  <a:lnTo>
                    <a:pt x="227" y="179"/>
                  </a:lnTo>
                  <a:lnTo>
                    <a:pt x="227" y="177"/>
                  </a:lnTo>
                  <a:lnTo>
                    <a:pt x="227" y="174"/>
                  </a:lnTo>
                  <a:lnTo>
                    <a:pt x="227" y="172"/>
                  </a:lnTo>
                  <a:lnTo>
                    <a:pt x="227" y="169"/>
                  </a:lnTo>
                  <a:lnTo>
                    <a:pt x="227" y="164"/>
                  </a:lnTo>
                  <a:lnTo>
                    <a:pt x="227" y="159"/>
                  </a:lnTo>
                  <a:lnTo>
                    <a:pt x="212" y="188"/>
                  </a:lnTo>
                  <a:lnTo>
                    <a:pt x="213" y="179"/>
                  </a:lnTo>
                  <a:lnTo>
                    <a:pt x="217" y="170"/>
                  </a:lnTo>
                  <a:lnTo>
                    <a:pt x="214" y="175"/>
                  </a:lnTo>
                  <a:lnTo>
                    <a:pt x="212" y="179"/>
                  </a:lnTo>
                  <a:lnTo>
                    <a:pt x="232" y="125"/>
                  </a:lnTo>
                  <a:lnTo>
                    <a:pt x="234" y="117"/>
                  </a:lnTo>
                  <a:lnTo>
                    <a:pt x="227" y="126"/>
                  </a:lnTo>
                  <a:lnTo>
                    <a:pt x="228" y="124"/>
                  </a:lnTo>
                  <a:lnTo>
                    <a:pt x="226" y="128"/>
                  </a:lnTo>
                  <a:lnTo>
                    <a:pt x="227" y="126"/>
                  </a:lnTo>
                  <a:lnTo>
                    <a:pt x="212" y="152"/>
                  </a:lnTo>
                  <a:lnTo>
                    <a:pt x="217" y="141"/>
                  </a:lnTo>
                  <a:lnTo>
                    <a:pt x="223" y="130"/>
                  </a:lnTo>
                  <a:lnTo>
                    <a:pt x="228" y="122"/>
                  </a:lnTo>
                  <a:lnTo>
                    <a:pt x="234" y="113"/>
                  </a:lnTo>
                  <a:lnTo>
                    <a:pt x="239" y="97"/>
                  </a:lnTo>
                  <a:lnTo>
                    <a:pt x="240" y="94"/>
                  </a:lnTo>
                  <a:lnTo>
                    <a:pt x="241" y="89"/>
                  </a:lnTo>
                  <a:lnTo>
                    <a:pt x="244" y="82"/>
                  </a:lnTo>
                  <a:lnTo>
                    <a:pt x="246" y="76"/>
                  </a:lnTo>
                  <a:lnTo>
                    <a:pt x="248" y="75"/>
                  </a:lnTo>
                  <a:lnTo>
                    <a:pt x="243" y="79"/>
                  </a:lnTo>
                  <a:lnTo>
                    <a:pt x="239" y="82"/>
                  </a:lnTo>
                  <a:lnTo>
                    <a:pt x="236" y="85"/>
                  </a:lnTo>
                  <a:lnTo>
                    <a:pt x="235" y="86"/>
                  </a:lnTo>
                  <a:lnTo>
                    <a:pt x="234" y="88"/>
                  </a:lnTo>
                  <a:lnTo>
                    <a:pt x="234" y="86"/>
                  </a:lnTo>
                  <a:lnTo>
                    <a:pt x="235" y="84"/>
                  </a:lnTo>
                  <a:lnTo>
                    <a:pt x="235" y="81"/>
                  </a:lnTo>
                  <a:lnTo>
                    <a:pt x="237" y="77"/>
                  </a:lnTo>
                  <a:lnTo>
                    <a:pt x="240" y="72"/>
                  </a:lnTo>
                  <a:lnTo>
                    <a:pt x="244" y="68"/>
                  </a:lnTo>
                  <a:lnTo>
                    <a:pt x="248" y="64"/>
                  </a:lnTo>
                  <a:lnTo>
                    <a:pt x="250" y="62"/>
                  </a:lnTo>
                  <a:lnTo>
                    <a:pt x="253" y="57"/>
                  </a:lnTo>
                  <a:lnTo>
                    <a:pt x="257" y="53"/>
                  </a:lnTo>
                  <a:lnTo>
                    <a:pt x="250" y="53"/>
                  </a:lnTo>
                  <a:lnTo>
                    <a:pt x="254" y="46"/>
                  </a:lnTo>
                  <a:lnTo>
                    <a:pt x="258" y="42"/>
                  </a:lnTo>
                  <a:lnTo>
                    <a:pt x="263" y="37"/>
                  </a:lnTo>
                  <a:lnTo>
                    <a:pt x="270" y="33"/>
                  </a:lnTo>
                  <a:lnTo>
                    <a:pt x="272" y="31"/>
                  </a:lnTo>
                  <a:lnTo>
                    <a:pt x="275" y="28"/>
                  </a:lnTo>
                  <a:lnTo>
                    <a:pt x="279" y="24"/>
                  </a:lnTo>
                  <a:lnTo>
                    <a:pt x="290" y="13"/>
                  </a:lnTo>
                  <a:lnTo>
                    <a:pt x="303" y="8"/>
                  </a:lnTo>
                  <a:lnTo>
                    <a:pt x="317" y="5"/>
                  </a:lnTo>
                  <a:lnTo>
                    <a:pt x="338" y="5"/>
                  </a:lnTo>
                  <a:lnTo>
                    <a:pt x="338" y="5"/>
                  </a:lnTo>
                  <a:lnTo>
                    <a:pt x="337" y="5"/>
                  </a:lnTo>
                  <a:lnTo>
                    <a:pt x="334" y="5"/>
                  </a:lnTo>
                  <a:lnTo>
                    <a:pt x="332" y="5"/>
                  </a:lnTo>
                  <a:lnTo>
                    <a:pt x="329" y="5"/>
                  </a:lnTo>
                  <a:lnTo>
                    <a:pt x="326" y="5"/>
                  </a:lnTo>
                  <a:lnTo>
                    <a:pt x="344" y="1"/>
                  </a:lnTo>
                  <a:lnTo>
                    <a:pt x="360" y="0"/>
                  </a:ln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896386"/>
              <a:endParaRPr lang="en-US" kern="0" dirty="0">
                <a:solidFill>
                  <a:sysClr val="windowText" lastClr="000000"/>
                </a:solidFill>
              </a:endParaRPr>
            </a:p>
          </p:txBody>
        </p:sp>
        <p:sp>
          <p:nvSpPr>
            <p:cNvPr id="63" name="Freeform 330"/>
            <p:cNvSpPr>
              <a:spLocks noEditPoints="1"/>
            </p:cNvSpPr>
            <p:nvPr/>
          </p:nvSpPr>
          <p:spPr bwMode="auto">
            <a:xfrm>
              <a:off x="3130919" y="1749911"/>
              <a:ext cx="527957" cy="1178495"/>
            </a:xfrm>
            <a:custGeom>
              <a:avLst/>
              <a:gdLst>
                <a:gd name="T0" fmla="*/ 72 w 491"/>
                <a:gd name="T1" fmla="*/ 638 h 1096"/>
                <a:gd name="T2" fmla="*/ 66 w 491"/>
                <a:gd name="T3" fmla="*/ 540 h 1096"/>
                <a:gd name="T4" fmla="*/ 116 w 491"/>
                <a:gd name="T5" fmla="*/ 390 h 1096"/>
                <a:gd name="T6" fmla="*/ 415 w 491"/>
                <a:gd name="T7" fmla="*/ 13 h 1096"/>
                <a:gd name="T8" fmla="*/ 421 w 491"/>
                <a:gd name="T9" fmla="*/ 23 h 1096"/>
                <a:gd name="T10" fmla="*/ 478 w 491"/>
                <a:gd name="T11" fmla="*/ 101 h 1096"/>
                <a:gd name="T12" fmla="*/ 487 w 491"/>
                <a:gd name="T13" fmla="*/ 157 h 1096"/>
                <a:gd name="T14" fmla="*/ 465 w 491"/>
                <a:gd name="T15" fmla="*/ 197 h 1096"/>
                <a:gd name="T16" fmla="*/ 450 w 491"/>
                <a:gd name="T17" fmla="*/ 206 h 1096"/>
                <a:gd name="T18" fmla="*/ 437 w 491"/>
                <a:gd name="T19" fmla="*/ 214 h 1096"/>
                <a:gd name="T20" fmla="*/ 420 w 491"/>
                <a:gd name="T21" fmla="*/ 216 h 1096"/>
                <a:gd name="T22" fmla="*/ 411 w 491"/>
                <a:gd name="T23" fmla="*/ 235 h 1096"/>
                <a:gd name="T24" fmla="*/ 398 w 491"/>
                <a:gd name="T25" fmla="*/ 278 h 1096"/>
                <a:gd name="T26" fmla="*/ 380 w 491"/>
                <a:gd name="T27" fmla="*/ 312 h 1096"/>
                <a:gd name="T28" fmla="*/ 371 w 491"/>
                <a:gd name="T29" fmla="*/ 342 h 1096"/>
                <a:gd name="T30" fmla="*/ 362 w 491"/>
                <a:gd name="T31" fmla="*/ 360 h 1096"/>
                <a:gd name="T32" fmla="*/ 345 w 491"/>
                <a:gd name="T33" fmla="*/ 369 h 1096"/>
                <a:gd name="T34" fmla="*/ 341 w 491"/>
                <a:gd name="T35" fmla="*/ 390 h 1096"/>
                <a:gd name="T36" fmla="*/ 340 w 491"/>
                <a:gd name="T37" fmla="*/ 411 h 1096"/>
                <a:gd name="T38" fmla="*/ 332 w 491"/>
                <a:gd name="T39" fmla="*/ 425 h 1096"/>
                <a:gd name="T40" fmla="*/ 332 w 491"/>
                <a:gd name="T41" fmla="*/ 454 h 1096"/>
                <a:gd name="T42" fmla="*/ 455 w 491"/>
                <a:gd name="T43" fmla="*/ 603 h 1096"/>
                <a:gd name="T44" fmla="*/ 393 w 491"/>
                <a:gd name="T45" fmla="*/ 637 h 1096"/>
                <a:gd name="T46" fmla="*/ 376 w 491"/>
                <a:gd name="T47" fmla="*/ 669 h 1096"/>
                <a:gd name="T48" fmla="*/ 388 w 491"/>
                <a:gd name="T49" fmla="*/ 766 h 1096"/>
                <a:gd name="T50" fmla="*/ 363 w 491"/>
                <a:gd name="T51" fmla="*/ 811 h 1096"/>
                <a:gd name="T52" fmla="*/ 347 w 491"/>
                <a:gd name="T53" fmla="*/ 830 h 1096"/>
                <a:gd name="T54" fmla="*/ 335 w 491"/>
                <a:gd name="T55" fmla="*/ 850 h 1096"/>
                <a:gd name="T56" fmla="*/ 325 w 491"/>
                <a:gd name="T57" fmla="*/ 887 h 1096"/>
                <a:gd name="T58" fmla="*/ 312 w 491"/>
                <a:gd name="T59" fmla="*/ 915 h 1096"/>
                <a:gd name="T60" fmla="*/ 303 w 491"/>
                <a:gd name="T61" fmla="*/ 944 h 1096"/>
                <a:gd name="T62" fmla="*/ 298 w 491"/>
                <a:gd name="T63" fmla="*/ 977 h 1096"/>
                <a:gd name="T64" fmla="*/ 307 w 491"/>
                <a:gd name="T65" fmla="*/ 1014 h 1096"/>
                <a:gd name="T66" fmla="*/ 389 w 491"/>
                <a:gd name="T67" fmla="*/ 1083 h 1096"/>
                <a:gd name="T68" fmla="*/ 205 w 491"/>
                <a:gd name="T69" fmla="*/ 1054 h 1096"/>
                <a:gd name="T70" fmla="*/ 224 w 491"/>
                <a:gd name="T71" fmla="*/ 945 h 1096"/>
                <a:gd name="T72" fmla="*/ 227 w 491"/>
                <a:gd name="T73" fmla="*/ 892 h 1096"/>
                <a:gd name="T74" fmla="*/ 218 w 491"/>
                <a:gd name="T75" fmla="*/ 890 h 1096"/>
                <a:gd name="T76" fmla="*/ 192 w 491"/>
                <a:gd name="T77" fmla="*/ 905 h 1096"/>
                <a:gd name="T78" fmla="*/ 180 w 491"/>
                <a:gd name="T79" fmla="*/ 918 h 1096"/>
                <a:gd name="T80" fmla="*/ 160 w 491"/>
                <a:gd name="T81" fmla="*/ 928 h 1096"/>
                <a:gd name="T82" fmla="*/ 143 w 491"/>
                <a:gd name="T83" fmla="*/ 935 h 1096"/>
                <a:gd name="T84" fmla="*/ 124 w 491"/>
                <a:gd name="T85" fmla="*/ 943 h 1096"/>
                <a:gd name="T86" fmla="*/ 138 w 491"/>
                <a:gd name="T87" fmla="*/ 1038 h 1096"/>
                <a:gd name="T88" fmla="*/ 42 w 491"/>
                <a:gd name="T89" fmla="*/ 1016 h 1096"/>
                <a:gd name="T90" fmla="*/ 28 w 491"/>
                <a:gd name="T91" fmla="*/ 903 h 1096"/>
                <a:gd name="T92" fmla="*/ 247 w 491"/>
                <a:gd name="T93" fmla="*/ 702 h 1096"/>
                <a:gd name="T94" fmla="*/ 238 w 491"/>
                <a:gd name="T95" fmla="*/ 698 h 1096"/>
                <a:gd name="T96" fmla="*/ 224 w 491"/>
                <a:gd name="T97" fmla="*/ 700 h 1096"/>
                <a:gd name="T98" fmla="*/ 216 w 491"/>
                <a:gd name="T99" fmla="*/ 664 h 1096"/>
                <a:gd name="T100" fmla="*/ 204 w 491"/>
                <a:gd name="T101" fmla="*/ 656 h 1096"/>
                <a:gd name="T102" fmla="*/ 188 w 491"/>
                <a:gd name="T103" fmla="*/ 646 h 1096"/>
                <a:gd name="T104" fmla="*/ 179 w 491"/>
                <a:gd name="T105" fmla="*/ 617 h 1096"/>
                <a:gd name="T106" fmla="*/ 166 w 491"/>
                <a:gd name="T107" fmla="*/ 622 h 1096"/>
                <a:gd name="T108" fmla="*/ 152 w 491"/>
                <a:gd name="T109" fmla="*/ 606 h 1096"/>
                <a:gd name="T110" fmla="*/ 115 w 491"/>
                <a:gd name="T111" fmla="*/ 547 h 1096"/>
                <a:gd name="T112" fmla="*/ 106 w 491"/>
                <a:gd name="T113" fmla="*/ 439 h 1096"/>
                <a:gd name="T114" fmla="*/ 77 w 491"/>
                <a:gd name="T115" fmla="*/ 555 h 1096"/>
                <a:gd name="T116" fmla="*/ 58 w 491"/>
                <a:gd name="T117" fmla="*/ 620 h 1096"/>
                <a:gd name="T118" fmla="*/ 11 w 491"/>
                <a:gd name="T119" fmla="*/ 463 h 1096"/>
                <a:gd name="T120" fmla="*/ 95 w 491"/>
                <a:gd name="T121" fmla="*/ 231 h 1096"/>
                <a:gd name="T122" fmla="*/ 216 w 491"/>
                <a:gd name="T123" fmla="*/ 104 h 1096"/>
                <a:gd name="T124" fmla="*/ 363 w 491"/>
                <a:gd name="T125" fmla="*/ 2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1" h="1096">
                  <a:moveTo>
                    <a:pt x="98" y="995"/>
                  </a:moveTo>
                  <a:lnTo>
                    <a:pt x="98" y="997"/>
                  </a:lnTo>
                  <a:lnTo>
                    <a:pt x="97" y="998"/>
                  </a:lnTo>
                  <a:lnTo>
                    <a:pt x="98" y="999"/>
                  </a:lnTo>
                  <a:lnTo>
                    <a:pt x="99" y="998"/>
                  </a:lnTo>
                  <a:lnTo>
                    <a:pt x="98" y="995"/>
                  </a:lnTo>
                  <a:close/>
                  <a:moveTo>
                    <a:pt x="264" y="683"/>
                  </a:moveTo>
                  <a:lnTo>
                    <a:pt x="264" y="687"/>
                  </a:lnTo>
                  <a:lnTo>
                    <a:pt x="264" y="686"/>
                  </a:lnTo>
                  <a:lnTo>
                    <a:pt x="264" y="683"/>
                  </a:lnTo>
                  <a:close/>
                  <a:moveTo>
                    <a:pt x="258" y="667"/>
                  </a:moveTo>
                  <a:lnTo>
                    <a:pt x="256" y="673"/>
                  </a:lnTo>
                  <a:lnTo>
                    <a:pt x="256" y="674"/>
                  </a:lnTo>
                  <a:lnTo>
                    <a:pt x="258" y="670"/>
                  </a:lnTo>
                  <a:lnTo>
                    <a:pt x="258" y="667"/>
                  </a:lnTo>
                  <a:close/>
                  <a:moveTo>
                    <a:pt x="371" y="664"/>
                  </a:moveTo>
                  <a:lnTo>
                    <a:pt x="371" y="669"/>
                  </a:lnTo>
                  <a:lnTo>
                    <a:pt x="374" y="680"/>
                  </a:lnTo>
                  <a:lnTo>
                    <a:pt x="374" y="680"/>
                  </a:lnTo>
                  <a:lnTo>
                    <a:pt x="375" y="684"/>
                  </a:lnTo>
                  <a:lnTo>
                    <a:pt x="374" y="677"/>
                  </a:lnTo>
                  <a:lnTo>
                    <a:pt x="372" y="669"/>
                  </a:lnTo>
                  <a:lnTo>
                    <a:pt x="371" y="664"/>
                  </a:lnTo>
                  <a:close/>
                  <a:moveTo>
                    <a:pt x="254" y="658"/>
                  </a:moveTo>
                  <a:lnTo>
                    <a:pt x="254" y="666"/>
                  </a:lnTo>
                  <a:lnTo>
                    <a:pt x="254" y="666"/>
                  </a:lnTo>
                  <a:lnTo>
                    <a:pt x="255" y="661"/>
                  </a:lnTo>
                  <a:lnTo>
                    <a:pt x="254" y="658"/>
                  </a:lnTo>
                  <a:close/>
                  <a:moveTo>
                    <a:pt x="366" y="642"/>
                  </a:moveTo>
                  <a:lnTo>
                    <a:pt x="367" y="646"/>
                  </a:lnTo>
                  <a:lnTo>
                    <a:pt x="367" y="643"/>
                  </a:lnTo>
                  <a:lnTo>
                    <a:pt x="366" y="642"/>
                  </a:lnTo>
                  <a:close/>
                  <a:moveTo>
                    <a:pt x="66" y="634"/>
                  </a:moveTo>
                  <a:lnTo>
                    <a:pt x="69" y="635"/>
                  </a:lnTo>
                  <a:lnTo>
                    <a:pt x="72" y="638"/>
                  </a:lnTo>
                  <a:lnTo>
                    <a:pt x="72" y="637"/>
                  </a:lnTo>
                  <a:lnTo>
                    <a:pt x="66" y="634"/>
                  </a:lnTo>
                  <a:close/>
                  <a:moveTo>
                    <a:pt x="433" y="582"/>
                  </a:moveTo>
                  <a:lnTo>
                    <a:pt x="436" y="585"/>
                  </a:lnTo>
                  <a:lnTo>
                    <a:pt x="442" y="591"/>
                  </a:lnTo>
                  <a:lnTo>
                    <a:pt x="446" y="598"/>
                  </a:lnTo>
                  <a:lnTo>
                    <a:pt x="442" y="590"/>
                  </a:lnTo>
                  <a:lnTo>
                    <a:pt x="437" y="585"/>
                  </a:lnTo>
                  <a:lnTo>
                    <a:pt x="433" y="582"/>
                  </a:lnTo>
                  <a:close/>
                  <a:moveTo>
                    <a:pt x="402" y="551"/>
                  </a:moveTo>
                  <a:lnTo>
                    <a:pt x="406" y="555"/>
                  </a:lnTo>
                  <a:lnTo>
                    <a:pt x="410" y="559"/>
                  </a:lnTo>
                  <a:lnTo>
                    <a:pt x="409" y="559"/>
                  </a:lnTo>
                  <a:lnTo>
                    <a:pt x="410" y="559"/>
                  </a:lnTo>
                  <a:lnTo>
                    <a:pt x="410" y="560"/>
                  </a:lnTo>
                  <a:lnTo>
                    <a:pt x="410" y="560"/>
                  </a:lnTo>
                  <a:lnTo>
                    <a:pt x="421" y="569"/>
                  </a:lnTo>
                  <a:lnTo>
                    <a:pt x="418" y="567"/>
                  </a:lnTo>
                  <a:lnTo>
                    <a:pt x="415" y="564"/>
                  </a:lnTo>
                  <a:lnTo>
                    <a:pt x="412" y="562"/>
                  </a:lnTo>
                  <a:lnTo>
                    <a:pt x="414" y="563"/>
                  </a:lnTo>
                  <a:lnTo>
                    <a:pt x="410" y="559"/>
                  </a:lnTo>
                  <a:lnTo>
                    <a:pt x="406" y="554"/>
                  </a:lnTo>
                  <a:lnTo>
                    <a:pt x="402" y="551"/>
                  </a:lnTo>
                  <a:close/>
                  <a:moveTo>
                    <a:pt x="63" y="520"/>
                  </a:moveTo>
                  <a:lnTo>
                    <a:pt x="62" y="523"/>
                  </a:lnTo>
                  <a:lnTo>
                    <a:pt x="64" y="536"/>
                  </a:lnTo>
                  <a:lnTo>
                    <a:pt x="63" y="532"/>
                  </a:lnTo>
                  <a:lnTo>
                    <a:pt x="62" y="523"/>
                  </a:lnTo>
                  <a:lnTo>
                    <a:pt x="62" y="525"/>
                  </a:lnTo>
                  <a:lnTo>
                    <a:pt x="62" y="525"/>
                  </a:lnTo>
                  <a:lnTo>
                    <a:pt x="63" y="532"/>
                  </a:lnTo>
                  <a:lnTo>
                    <a:pt x="66" y="540"/>
                  </a:lnTo>
                  <a:lnTo>
                    <a:pt x="64" y="536"/>
                  </a:lnTo>
                  <a:lnTo>
                    <a:pt x="66" y="540"/>
                  </a:lnTo>
                  <a:lnTo>
                    <a:pt x="63" y="520"/>
                  </a:lnTo>
                  <a:close/>
                  <a:moveTo>
                    <a:pt x="55" y="489"/>
                  </a:moveTo>
                  <a:lnTo>
                    <a:pt x="54" y="493"/>
                  </a:lnTo>
                  <a:lnTo>
                    <a:pt x="53" y="496"/>
                  </a:lnTo>
                  <a:lnTo>
                    <a:pt x="54" y="493"/>
                  </a:lnTo>
                  <a:lnTo>
                    <a:pt x="55" y="491"/>
                  </a:lnTo>
                  <a:lnTo>
                    <a:pt x="55" y="489"/>
                  </a:lnTo>
                  <a:close/>
                  <a:moveTo>
                    <a:pt x="58" y="488"/>
                  </a:moveTo>
                  <a:lnTo>
                    <a:pt x="57" y="491"/>
                  </a:lnTo>
                  <a:lnTo>
                    <a:pt x="57" y="491"/>
                  </a:lnTo>
                  <a:lnTo>
                    <a:pt x="58" y="488"/>
                  </a:lnTo>
                  <a:close/>
                  <a:moveTo>
                    <a:pt x="58" y="485"/>
                  </a:moveTo>
                  <a:lnTo>
                    <a:pt x="55" y="489"/>
                  </a:lnTo>
                  <a:lnTo>
                    <a:pt x="57" y="489"/>
                  </a:lnTo>
                  <a:lnTo>
                    <a:pt x="58" y="485"/>
                  </a:lnTo>
                  <a:close/>
                  <a:moveTo>
                    <a:pt x="63" y="482"/>
                  </a:moveTo>
                  <a:lnTo>
                    <a:pt x="62" y="482"/>
                  </a:lnTo>
                  <a:lnTo>
                    <a:pt x="62" y="485"/>
                  </a:lnTo>
                  <a:lnTo>
                    <a:pt x="62" y="484"/>
                  </a:lnTo>
                  <a:lnTo>
                    <a:pt x="63" y="482"/>
                  </a:lnTo>
                  <a:close/>
                  <a:moveTo>
                    <a:pt x="66" y="479"/>
                  </a:moveTo>
                  <a:lnTo>
                    <a:pt x="64" y="480"/>
                  </a:lnTo>
                  <a:lnTo>
                    <a:pt x="63" y="482"/>
                  </a:lnTo>
                  <a:lnTo>
                    <a:pt x="66" y="479"/>
                  </a:lnTo>
                  <a:close/>
                  <a:moveTo>
                    <a:pt x="113" y="408"/>
                  </a:moveTo>
                  <a:lnTo>
                    <a:pt x="111" y="413"/>
                  </a:lnTo>
                  <a:lnTo>
                    <a:pt x="109" y="417"/>
                  </a:lnTo>
                  <a:lnTo>
                    <a:pt x="109" y="418"/>
                  </a:lnTo>
                  <a:lnTo>
                    <a:pt x="111" y="416"/>
                  </a:lnTo>
                  <a:lnTo>
                    <a:pt x="112" y="412"/>
                  </a:lnTo>
                  <a:lnTo>
                    <a:pt x="113" y="408"/>
                  </a:lnTo>
                  <a:close/>
                  <a:moveTo>
                    <a:pt x="116" y="390"/>
                  </a:moveTo>
                  <a:lnTo>
                    <a:pt x="113" y="401"/>
                  </a:lnTo>
                  <a:lnTo>
                    <a:pt x="117" y="394"/>
                  </a:lnTo>
                  <a:lnTo>
                    <a:pt x="116" y="390"/>
                  </a:lnTo>
                  <a:close/>
                  <a:moveTo>
                    <a:pt x="42" y="306"/>
                  </a:moveTo>
                  <a:lnTo>
                    <a:pt x="40" y="311"/>
                  </a:lnTo>
                  <a:lnTo>
                    <a:pt x="41" y="311"/>
                  </a:lnTo>
                  <a:lnTo>
                    <a:pt x="42" y="306"/>
                  </a:lnTo>
                  <a:close/>
                  <a:moveTo>
                    <a:pt x="79" y="272"/>
                  </a:moveTo>
                  <a:lnTo>
                    <a:pt x="79" y="272"/>
                  </a:lnTo>
                  <a:lnTo>
                    <a:pt x="79" y="272"/>
                  </a:lnTo>
                  <a:lnTo>
                    <a:pt x="79" y="272"/>
                  </a:lnTo>
                  <a:close/>
                  <a:moveTo>
                    <a:pt x="82" y="253"/>
                  </a:moveTo>
                  <a:lnTo>
                    <a:pt x="79" y="258"/>
                  </a:lnTo>
                  <a:lnTo>
                    <a:pt x="77" y="265"/>
                  </a:lnTo>
                  <a:lnTo>
                    <a:pt x="82" y="253"/>
                  </a:lnTo>
                  <a:close/>
                  <a:moveTo>
                    <a:pt x="407" y="212"/>
                  </a:moveTo>
                  <a:lnTo>
                    <a:pt x="407" y="212"/>
                  </a:lnTo>
                  <a:lnTo>
                    <a:pt x="409" y="219"/>
                  </a:lnTo>
                  <a:lnTo>
                    <a:pt x="407" y="212"/>
                  </a:lnTo>
                  <a:close/>
                  <a:moveTo>
                    <a:pt x="473" y="93"/>
                  </a:moveTo>
                  <a:lnTo>
                    <a:pt x="474" y="95"/>
                  </a:lnTo>
                  <a:lnTo>
                    <a:pt x="474" y="97"/>
                  </a:lnTo>
                  <a:lnTo>
                    <a:pt x="474" y="95"/>
                  </a:lnTo>
                  <a:lnTo>
                    <a:pt x="476" y="95"/>
                  </a:lnTo>
                  <a:lnTo>
                    <a:pt x="474" y="94"/>
                  </a:lnTo>
                  <a:lnTo>
                    <a:pt x="474" y="94"/>
                  </a:lnTo>
                  <a:lnTo>
                    <a:pt x="473" y="93"/>
                  </a:lnTo>
                  <a:close/>
                  <a:moveTo>
                    <a:pt x="381" y="0"/>
                  </a:moveTo>
                  <a:lnTo>
                    <a:pt x="385" y="0"/>
                  </a:lnTo>
                  <a:lnTo>
                    <a:pt x="390" y="1"/>
                  </a:lnTo>
                  <a:lnTo>
                    <a:pt x="393" y="2"/>
                  </a:lnTo>
                  <a:lnTo>
                    <a:pt x="396" y="5"/>
                  </a:lnTo>
                  <a:lnTo>
                    <a:pt x="401" y="6"/>
                  </a:lnTo>
                  <a:lnTo>
                    <a:pt x="405" y="8"/>
                  </a:lnTo>
                  <a:lnTo>
                    <a:pt x="409" y="10"/>
                  </a:lnTo>
                  <a:lnTo>
                    <a:pt x="412" y="12"/>
                  </a:lnTo>
                  <a:lnTo>
                    <a:pt x="414" y="13"/>
                  </a:lnTo>
                  <a:lnTo>
                    <a:pt x="415" y="13"/>
                  </a:lnTo>
                  <a:lnTo>
                    <a:pt x="414" y="13"/>
                  </a:lnTo>
                  <a:lnTo>
                    <a:pt x="412" y="12"/>
                  </a:lnTo>
                  <a:lnTo>
                    <a:pt x="409" y="12"/>
                  </a:lnTo>
                  <a:lnTo>
                    <a:pt x="405" y="10"/>
                  </a:lnTo>
                  <a:lnTo>
                    <a:pt x="398" y="9"/>
                  </a:lnTo>
                  <a:lnTo>
                    <a:pt x="398" y="9"/>
                  </a:lnTo>
                  <a:lnTo>
                    <a:pt x="399" y="10"/>
                  </a:lnTo>
                  <a:lnTo>
                    <a:pt x="399" y="12"/>
                  </a:lnTo>
                  <a:lnTo>
                    <a:pt x="399" y="12"/>
                  </a:lnTo>
                  <a:lnTo>
                    <a:pt x="398" y="9"/>
                  </a:lnTo>
                  <a:lnTo>
                    <a:pt x="398" y="9"/>
                  </a:lnTo>
                  <a:lnTo>
                    <a:pt x="388" y="6"/>
                  </a:lnTo>
                  <a:lnTo>
                    <a:pt x="378" y="6"/>
                  </a:lnTo>
                  <a:lnTo>
                    <a:pt x="371" y="5"/>
                  </a:lnTo>
                  <a:lnTo>
                    <a:pt x="370" y="6"/>
                  </a:lnTo>
                  <a:lnTo>
                    <a:pt x="372" y="6"/>
                  </a:lnTo>
                  <a:lnTo>
                    <a:pt x="378" y="6"/>
                  </a:lnTo>
                  <a:lnTo>
                    <a:pt x="383" y="8"/>
                  </a:lnTo>
                  <a:lnTo>
                    <a:pt x="387" y="9"/>
                  </a:lnTo>
                  <a:lnTo>
                    <a:pt x="394" y="10"/>
                  </a:lnTo>
                  <a:lnTo>
                    <a:pt x="401" y="13"/>
                  </a:lnTo>
                  <a:lnTo>
                    <a:pt x="415" y="18"/>
                  </a:lnTo>
                  <a:lnTo>
                    <a:pt x="427" y="23"/>
                  </a:lnTo>
                  <a:lnTo>
                    <a:pt x="430" y="26"/>
                  </a:lnTo>
                  <a:lnTo>
                    <a:pt x="434" y="30"/>
                  </a:lnTo>
                  <a:lnTo>
                    <a:pt x="437" y="32"/>
                  </a:lnTo>
                  <a:lnTo>
                    <a:pt x="438" y="33"/>
                  </a:lnTo>
                  <a:lnTo>
                    <a:pt x="439" y="35"/>
                  </a:lnTo>
                  <a:lnTo>
                    <a:pt x="439" y="36"/>
                  </a:lnTo>
                  <a:lnTo>
                    <a:pt x="439" y="35"/>
                  </a:lnTo>
                  <a:lnTo>
                    <a:pt x="438" y="33"/>
                  </a:lnTo>
                  <a:lnTo>
                    <a:pt x="434" y="31"/>
                  </a:lnTo>
                  <a:lnTo>
                    <a:pt x="430" y="28"/>
                  </a:lnTo>
                  <a:lnTo>
                    <a:pt x="425" y="26"/>
                  </a:lnTo>
                  <a:lnTo>
                    <a:pt x="421" y="23"/>
                  </a:lnTo>
                  <a:lnTo>
                    <a:pt x="418" y="22"/>
                  </a:lnTo>
                  <a:lnTo>
                    <a:pt x="424" y="26"/>
                  </a:lnTo>
                  <a:lnTo>
                    <a:pt x="434" y="32"/>
                  </a:lnTo>
                  <a:lnTo>
                    <a:pt x="433" y="32"/>
                  </a:lnTo>
                  <a:lnTo>
                    <a:pt x="432" y="31"/>
                  </a:lnTo>
                  <a:lnTo>
                    <a:pt x="428" y="30"/>
                  </a:lnTo>
                  <a:lnTo>
                    <a:pt x="423" y="27"/>
                  </a:lnTo>
                  <a:lnTo>
                    <a:pt x="424" y="30"/>
                  </a:lnTo>
                  <a:lnTo>
                    <a:pt x="428" y="33"/>
                  </a:lnTo>
                  <a:lnTo>
                    <a:pt x="433" y="39"/>
                  </a:lnTo>
                  <a:lnTo>
                    <a:pt x="434" y="40"/>
                  </a:lnTo>
                  <a:lnTo>
                    <a:pt x="437" y="41"/>
                  </a:lnTo>
                  <a:lnTo>
                    <a:pt x="438" y="42"/>
                  </a:lnTo>
                  <a:lnTo>
                    <a:pt x="438" y="42"/>
                  </a:lnTo>
                  <a:lnTo>
                    <a:pt x="437" y="42"/>
                  </a:lnTo>
                  <a:lnTo>
                    <a:pt x="438" y="45"/>
                  </a:lnTo>
                  <a:lnTo>
                    <a:pt x="443" y="48"/>
                  </a:lnTo>
                  <a:lnTo>
                    <a:pt x="447" y="52"/>
                  </a:lnTo>
                  <a:lnTo>
                    <a:pt x="448" y="53"/>
                  </a:lnTo>
                  <a:lnTo>
                    <a:pt x="451" y="55"/>
                  </a:lnTo>
                  <a:lnTo>
                    <a:pt x="452" y="58"/>
                  </a:lnTo>
                  <a:lnTo>
                    <a:pt x="454" y="61"/>
                  </a:lnTo>
                  <a:lnTo>
                    <a:pt x="460" y="68"/>
                  </a:lnTo>
                  <a:lnTo>
                    <a:pt x="465" y="76"/>
                  </a:lnTo>
                  <a:lnTo>
                    <a:pt x="468" y="80"/>
                  </a:lnTo>
                  <a:lnTo>
                    <a:pt x="470" y="84"/>
                  </a:lnTo>
                  <a:lnTo>
                    <a:pt x="470" y="86"/>
                  </a:lnTo>
                  <a:lnTo>
                    <a:pt x="472" y="88"/>
                  </a:lnTo>
                  <a:lnTo>
                    <a:pt x="474" y="89"/>
                  </a:lnTo>
                  <a:lnTo>
                    <a:pt x="477" y="92"/>
                  </a:lnTo>
                  <a:lnTo>
                    <a:pt x="478" y="93"/>
                  </a:lnTo>
                  <a:lnTo>
                    <a:pt x="478" y="94"/>
                  </a:lnTo>
                  <a:lnTo>
                    <a:pt x="479" y="95"/>
                  </a:lnTo>
                  <a:lnTo>
                    <a:pt x="479" y="97"/>
                  </a:lnTo>
                  <a:lnTo>
                    <a:pt x="478" y="101"/>
                  </a:lnTo>
                  <a:lnTo>
                    <a:pt x="477" y="102"/>
                  </a:lnTo>
                  <a:lnTo>
                    <a:pt x="474" y="106"/>
                  </a:lnTo>
                  <a:lnTo>
                    <a:pt x="472" y="110"/>
                  </a:lnTo>
                  <a:lnTo>
                    <a:pt x="472" y="110"/>
                  </a:lnTo>
                  <a:lnTo>
                    <a:pt x="472" y="112"/>
                  </a:lnTo>
                  <a:lnTo>
                    <a:pt x="472" y="112"/>
                  </a:lnTo>
                  <a:lnTo>
                    <a:pt x="472" y="112"/>
                  </a:lnTo>
                  <a:lnTo>
                    <a:pt x="470" y="111"/>
                  </a:lnTo>
                  <a:lnTo>
                    <a:pt x="470" y="111"/>
                  </a:lnTo>
                  <a:lnTo>
                    <a:pt x="470" y="112"/>
                  </a:lnTo>
                  <a:lnTo>
                    <a:pt x="470" y="114"/>
                  </a:lnTo>
                  <a:lnTo>
                    <a:pt x="470" y="114"/>
                  </a:lnTo>
                  <a:lnTo>
                    <a:pt x="473" y="117"/>
                  </a:lnTo>
                  <a:lnTo>
                    <a:pt x="476" y="120"/>
                  </a:lnTo>
                  <a:lnTo>
                    <a:pt x="477" y="123"/>
                  </a:lnTo>
                  <a:lnTo>
                    <a:pt x="481" y="125"/>
                  </a:lnTo>
                  <a:lnTo>
                    <a:pt x="485" y="129"/>
                  </a:lnTo>
                  <a:lnTo>
                    <a:pt x="488" y="133"/>
                  </a:lnTo>
                  <a:lnTo>
                    <a:pt x="490" y="135"/>
                  </a:lnTo>
                  <a:lnTo>
                    <a:pt x="491" y="138"/>
                  </a:lnTo>
                  <a:lnTo>
                    <a:pt x="491" y="141"/>
                  </a:lnTo>
                  <a:lnTo>
                    <a:pt x="490" y="143"/>
                  </a:lnTo>
                  <a:lnTo>
                    <a:pt x="488" y="145"/>
                  </a:lnTo>
                  <a:lnTo>
                    <a:pt x="487" y="146"/>
                  </a:lnTo>
                  <a:lnTo>
                    <a:pt x="487" y="146"/>
                  </a:lnTo>
                  <a:lnTo>
                    <a:pt x="487" y="146"/>
                  </a:lnTo>
                  <a:lnTo>
                    <a:pt x="487" y="146"/>
                  </a:lnTo>
                  <a:lnTo>
                    <a:pt x="487" y="146"/>
                  </a:lnTo>
                  <a:lnTo>
                    <a:pt x="487" y="146"/>
                  </a:lnTo>
                  <a:lnTo>
                    <a:pt x="487" y="146"/>
                  </a:lnTo>
                  <a:lnTo>
                    <a:pt x="487" y="146"/>
                  </a:lnTo>
                  <a:lnTo>
                    <a:pt x="485" y="148"/>
                  </a:lnTo>
                  <a:lnTo>
                    <a:pt x="486" y="151"/>
                  </a:lnTo>
                  <a:lnTo>
                    <a:pt x="486" y="154"/>
                  </a:lnTo>
                  <a:lnTo>
                    <a:pt x="487" y="157"/>
                  </a:lnTo>
                  <a:lnTo>
                    <a:pt x="487" y="163"/>
                  </a:lnTo>
                  <a:lnTo>
                    <a:pt x="487" y="170"/>
                  </a:lnTo>
                  <a:lnTo>
                    <a:pt x="486" y="170"/>
                  </a:lnTo>
                  <a:lnTo>
                    <a:pt x="486" y="173"/>
                  </a:lnTo>
                  <a:lnTo>
                    <a:pt x="485" y="174"/>
                  </a:lnTo>
                  <a:lnTo>
                    <a:pt x="483" y="177"/>
                  </a:lnTo>
                  <a:lnTo>
                    <a:pt x="482" y="177"/>
                  </a:lnTo>
                  <a:lnTo>
                    <a:pt x="482" y="178"/>
                  </a:lnTo>
                  <a:lnTo>
                    <a:pt x="482" y="178"/>
                  </a:lnTo>
                  <a:lnTo>
                    <a:pt x="482" y="178"/>
                  </a:lnTo>
                  <a:lnTo>
                    <a:pt x="482" y="178"/>
                  </a:lnTo>
                  <a:lnTo>
                    <a:pt x="481" y="178"/>
                  </a:lnTo>
                  <a:lnTo>
                    <a:pt x="479" y="179"/>
                  </a:lnTo>
                  <a:lnTo>
                    <a:pt x="478" y="179"/>
                  </a:lnTo>
                  <a:lnTo>
                    <a:pt x="478" y="181"/>
                  </a:lnTo>
                  <a:lnTo>
                    <a:pt x="478" y="183"/>
                  </a:lnTo>
                  <a:lnTo>
                    <a:pt x="477" y="185"/>
                  </a:lnTo>
                  <a:lnTo>
                    <a:pt x="476" y="187"/>
                  </a:lnTo>
                  <a:lnTo>
                    <a:pt x="476" y="187"/>
                  </a:lnTo>
                  <a:lnTo>
                    <a:pt x="474" y="190"/>
                  </a:lnTo>
                  <a:lnTo>
                    <a:pt x="473" y="192"/>
                  </a:lnTo>
                  <a:lnTo>
                    <a:pt x="473" y="192"/>
                  </a:lnTo>
                  <a:lnTo>
                    <a:pt x="472" y="192"/>
                  </a:lnTo>
                  <a:lnTo>
                    <a:pt x="472" y="192"/>
                  </a:lnTo>
                  <a:lnTo>
                    <a:pt x="472" y="192"/>
                  </a:lnTo>
                  <a:lnTo>
                    <a:pt x="470" y="194"/>
                  </a:lnTo>
                  <a:lnTo>
                    <a:pt x="468" y="194"/>
                  </a:lnTo>
                  <a:lnTo>
                    <a:pt x="469" y="195"/>
                  </a:lnTo>
                  <a:lnTo>
                    <a:pt x="469" y="196"/>
                  </a:lnTo>
                  <a:lnTo>
                    <a:pt x="469" y="196"/>
                  </a:lnTo>
                  <a:lnTo>
                    <a:pt x="469" y="196"/>
                  </a:lnTo>
                  <a:lnTo>
                    <a:pt x="467" y="196"/>
                  </a:lnTo>
                  <a:lnTo>
                    <a:pt x="465" y="195"/>
                  </a:lnTo>
                  <a:lnTo>
                    <a:pt x="465" y="196"/>
                  </a:lnTo>
                  <a:lnTo>
                    <a:pt x="465" y="197"/>
                  </a:lnTo>
                  <a:lnTo>
                    <a:pt x="464" y="197"/>
                  </a:lnTo>
                  <a:lnTo>
                    <a:pt x="465" y="199"/>
                  </a:lnTo>
                  <a:lnTo>
                    <a:pt x="465" y="200"/>
                  </a:lnTo>
                  <a:lnTo>
                    <a:pt x="467" y="200"/>
                  </a:lnTo>
                  <a:lnTo>
                    <a:pt x="465" y="200"/>
                  </a:lnTo>
                  <a:lnTo>
                    <a:pt x="464" y="199"/>
                  </a:lnTo>
                  <a:lnTo>
                    <a:pt x="461" y="197"/>
                  </a:lnTo>
                  <a:lnTo>
                    <a:pt x="461" y="199"/>
                  </a:lnTo>
                  <a:lnTo>
                    <a:pt x="463" y="201"/>
                  </a:lnTo>
                  <a:lnTo>
                    <a:pt x="464" y="203"/>
                  </a:lnTo>
                  <a:lnTo>
                    <a:pt x="464" y="203"/>
                  </a:lnTo>
                  <a:lnTo>
                    <a:pt x="464" y="203"/>
                  </a:lnTo>
                  <a:lnTo>
                    <a:pt x="461" y="203"/>
                  </a:lnTo>
                  <a:lnTo>
                    <a:pt x="459" y="201"/>
                  </a:lnTo>
                  <a:lnTo>
                    <a:pt x="460" y="204"/>
                  </a:lnTo>
                  <a:lnTo>
                    <a:pt x="461" y="205"/>
                  </a:lnTo>
                  <a:lnTo>
                    <a:pt x="463" y="208"/>
                  </a:lnTo>
                  <a:lnTo>
                    <a:pt x="463" y="208"/>
                  </a:lnTo>
                  <a:lnTo>
                    <a:pt x="461" y="208"/>
                  </a:lnTo>
                  <a:lnTo>
                    <a:pt x="460" y="206"/>
                  </a:lnTo>
                  <a:lnTo>
                    <a:pt x="459" y="205"/>
                  </a:lnTo>
                  <a:lnTo>
                    <a:pt x="456" y="204"/>
                  </a:lnTo>
                  <a:lnTo>
                    <a:pt x="454" y="200"/>
                  </a:lnTo>
                  <a:lnTo>
                    <a:pt x="454" y="200"/>
                  </a:lnTo>
                  <a:lnTo>
                    <a:pt x="455" y="204"/>
                  </a:lnTo>
                  <a:lnTo>
                    <a:pt x="458" y="206"/>
                  </a:lnTo>
                  <a:lnTo>
                    <a:pt x="458" y="206"/>
                  </a:lnTo>
                  <a:lnTo>
                    <a:pt x="456" y="206"/>
                  </a:lnTo>
                  <a:lnTo>
                    <a:pt x="454" y="205"/>
                  </a:lnTo>
                  <a:lnTo>
                    <a:pt x="451" y="203"/>
                  </a:lnTo>
                  <a:lnTo>
                    <a:pt x="448" y="200"/>
                  </a:lnTo>
                  <a:lnTo>
                    <a:pt x="448" y="200"/>
                  </a:lnTo>
                  <a:lnTo>
                    <a:pt x="448" y="200"/>
                  </a:lnTo>
                  <a:lnTo>
                    <a:pt x="450" y="204"/>
                  </a:lnTo>
                  <a:lnTo>
                    <a:pt x="450" y="206"/>
                  </a:lnTo>
                  <a:lnTo>
                    <a:pt x="451" y="206"/>
                  </a:lnTo>
                  <a:lnTo>
                    <a:pt x="450" y="206"/>
                  </a:lnTo>
                  <a:lnTo>
                    <a:pt x="450" y="206"/>
                  </a:lnTo>
                  <a:lnTo>
                    <a:pt x="448" y="205"/>
                  </a:lnTo>
                  <a:lnTo>
                    <a:pt x="446" y="203"/>
                  </a:lnTo>
                  <a:lnTo>
                    <a:pt x="447" y="205"/>
                  </a:lnTo>
                  <a:lnTo>
                    <a:pt x="447" y="208"/>
                  </a:lnTo>
                  <a:lnTo>
                    <a:pt x="448" y="209"/>
                  </a:lnTo>
                  <a:lnTo>
                    <a:pt x="448" y="210"/>
                  </a:lnTo>
                  <a:lnTo>
                    <a:pt x="447" y="209"/>
                  </a:lnTo>
                  <a:lnTo>
                    <a:pt x="446" y="208"/>
                  </a:lnTo>
                  <a:lnTo>
                    <a:pt x="445" y="206"/>
                  </a:lnTo>
                  <a:lnTo>
                    <a:pt x="442" y="203"/>
                  </a:lnTo>
                  <a:lnTo>
                    <a:pt x="442" y="204"/>
                  </a:lnTo>
                  <a:lnTo>
                    <a:pt x="443" y="208"/>
                  </a:lnTo>
                  <a:lnTo>
                    <a:pt x="443" y="209"/>
                  </a:lnTo>
                  <a:lnTo>
                    <a:pt x="443" y="210"/>
                  </a:lnTo>
                  <a:lnTo>
                    <a:pt x="443" y="210"/>
                  </a:lnTo>
                  <a:lnTo>
                    <a:pt x="442" y="209"/>
                  </a:lnTo>
                  <a:lnTo>
                    <a:pt x="439" y="208"/>
                  </a:lnTo>
                  <a:lnTo>
                    <a:pt x="438" y="205"/>
                  </a:lnTo>
                  <a:lnTo>
                    <a:pt x="438" y="206"/>
                  </a:lnTo>
                  <a:lnTo>
                    <a:pt x="439" y="210"/>
                  </a:lnTo>
                  <a:lnTo>
                    <a:pt x="441" y="212"/>
                  </a:lnTo>
                  <a:lnTo>
                    <a:pt x="441" y="213"/>
                  </a:lnTo>
                  <a:lnTo>
                    <a:pt x="442" y="213"/>
                  </a:lnTo>
                  <a:lnTo>
                    <a:pt x="441" y="213"/>
                  </a:lnTo>
                  <a:lnTo>
                    <a:pt x="439" y="213"/>
                  </a:lnTo>
                  <a:lnTo>
                    <a:pt x="438" y="212"/>
                  </a:lnTo>
                  <a:lnTo>
                    <a:pt x="436" y="208"/>
                  </a:lnTo>
                  <a:lnTo>
                    <a:pt x="436" y="209"/>
                  </a:lnTo>
                  <a:lnTo>
                    <a:pt x="436" y="209"/>
                  </a:lnTo>
                  <a:lnTo>
                    <a:pt x="434" y="208"/>
                  </a:lnTo>
                  <a:lnTo>
                    <a:pt x="436" y="212"/>
                  </a:lnTo>
                  <a:lnTo>
                    <a:pt x="437" y="214"/>
                  </a:lnTo>
                  <a:lnTo>
                    <a:pt x="437" y="216"/>
                  </a:lnTo>
                  <a:lnTo>
                    <a:pt x="437" y="217"/>
                  </a:lnTo>
                  <a:lnTo>
                    <a:pt x="437" y="216"/>
                  </a:lnTo>
                  <a:lnTo>
                    <a:pt x="436" y="214"/>
                  </a:lnTo>
                  <a:lnTo>
                    <a:pt x="434" y="213"/>
                  </a:lnTo>
                  <a:lnTo>
                    <a:pt x="432" y="210"/>
                  </a:lnTo>
                  <a:lnTo>
                    <a:pt x="430" y="206"/>
                  </a:lnTo>
                  <a:lnTo>
                    <a:pt x="430" y="208"/>
                  </a:lnTo>
                  <a:lnTo>
                    <a:pt x="432" y="214"/>
                  </a:lnTo>
                  <a:lnTo>
                    <a:pt x="433" y="218"/>
                  </a:lnTo>
                  <a:lnTo>
                    <a:pt x="434" y="223"/>
                  </a:lnTo>
                  <a:lnTo>
                    <a:pt x="434" y="223"/>
                  </a:lnTo>
                  <a:lnTo>
                    <a:pt x="433" y="222"/>
                  </a:lnTo>
                  <a:lnTo>
                    <a:pt x="432" y="219"/>
                  </a:lnTo>
                  <a:lnTo>
                    <a:pt x="429" y="216"/>
                  </a:lnTo>
                  <a:lnTo>
                    <a:pt x="427" y="209"/>
                  </a:lnTo>
                  <a:lnTo>
                    <a:pt x="427" y="208"/>
                  </a:lnTo>
                  <a:lnTo>
                    <a:pt x="425" y="210"/>
                  </a:lnTo>
                  <a:lnTo>
                    <a:pt x="427" y="214"/>
                  </a:lnTo>
                  <a:lnTo>
                    <a:pt x="428" y="221"/>
                  </a:lnTo>
                  <a:lnTo>
                    <a:pt x="428" y="219"/>
                  </a:lnTo>
                  <a:lnTo>
                    <a:pt x="427" y="218"/>
                  </a:lnTo>
                  <a:lnTo>
                    <a:pt x="425" y="216"/>
                  </a:lnTo>
                  <a:lnTo>
                    <a:pt x="424" y="214"/>
                  </a:lnTo>
                  <a:lnTo>
                    <a:pt x="424" y="214"/>
                  </a:lnTo>
                  <a:lnTo>
                    <a:pt x="424" y="214"/>
                  </a:lnTo>
                  <a:lnTo>
                    <a:pt x="423" y="212"/>
                  </a:lnTo>
                  <a:lnTo>
                    <a:pt x="423" y="212"/>
                  </a:lnTo>
                  <a:lnTo>
                    <a:pt x="420" y="205"/>
                  </a:lnTo>
                  <a:lnTo>
                    <a:pt x="421" y="210"/>
                  </a:lnTo>
                  <a:lnTo>
                    <a:pt x="423" y="214"/>
                  </a:lnTo>
                  <a:lnTo>
                    <a:pt x="423" y="218"/>
                  </a:lnTo>
                  <a:lnTo>
                    <a:pt x="423" y="221"/>
                  </a:lnTo>
                  <a:lnTo>
                    <a:pt x="423" y="221"/>
                  </a:lnTo>
                  <a:lnTo>
                    <a:pt x="420" y="216"/>
                  </a:lnTo>
                  <a:lnTo>
                    <a:pt x="419" y="212"/>
                  </a:lnTo>
                  <a:lnTo>
                    <a:pt x="418" y="209"/>
                  </a:lnTo>
                  <a:lnTo>
                    <a:pt x="419" y="213"/>
                  </a:lnTo>
                  <a:lnTo>
                    <a:pt x="420" y="221"/>
                  </a:lnTo>
                  <a:lnTo>
                    <a:pt x="421" y="226"/>
                  </a:lnTo>
                  <a:lnTo>
                    <a:pt x="423" y="232"/>
                  </a:lnTo>
                  <a:lnTo>
                    <a:pt x="421" y="231"/>
                  </a:lnTo>
                  <a:lnTo>
                    <a:pt x="420" y="230"/>
                  </a:lnTo>
                  <a:lnTo>
                    <a:pt x="419" y="227"/>
                  </a:lnTo>
                  <a:lnTo>
                    <a:pt x="418" y="222"/>
                  </a:lnTo>
                  <a:lnTo>
                    <a:pt x="418" y="223"/>
                  </a:lnTo>
                  <a:lnTo>
                    <a:pt x="418" y="223"/>
                  </a:lnTo>
                  <a:lnTo>
                    <a:pt x="418" y="223"/>
                  </a:lnTo>
                  <a:lnTo>
                    <a:pt x="416" y="221"/>
                  </a:lnTo>
                  <a:lnTo>
                    <a:pt x="414" y="218"/>
                  </a:lnTo>
                  <a:lnTo>
                    <a:pt x="412" y="216"/>
                  </a:lnTo>
                  <a:lnTo>
                    <a:pt x="414" y="221"/>
                  </a:lnTo>
                  <a:lnTo>
                    <a:pt x="415" y="226"/>
                  </a:lnTo>
                  <a:lnTo>
                    <a:pt x="416" y="230"/>
                  </a:lnTo>
                  <a:lnTo>
                    <a:pt x="416" y="231"/>
                  </a:lnTo>
                  <a:lnTo>
                    <a:pt x="416" y="232"/>
                  </a:lnTo>
                  <a:lnTo>
                    <a:pt x="416" y="232"/>
                  </a:lnTo>
                  <a:lnTo>
                    <a:pt x="415" y="230"/>
                  </a:lnTo>
                  <a:lnTo>
                    <a:pt x="414" y="227"/>
                  </a:lnTo>
                  <a:lnTo>
                    <a:pt x="414" y="232"/>
                  </a:lnTo>
                  <a:lnTo>
                    <a:pt x="414" y="236"/>
                  </a:lnTo>
                  <a:lnTo>
                    <a:pt x="414" y="239"/>
                  </a:lnTo>
                  <a:lnTo>
                    <a:pt x="414" y="240"/>
                  </a:lnTo>
                  <a:lnTo>
                    <a:pt x="414" y="239"/>
                  </a:lnTo>
                  <a:lnTo>
                    <a:pt x="412" y="236"/>
                  </a:lnTo>
                  <a:lnTo>
                    <a:pt x="411" y="232"/>
                  </a:lnTo>
                  <a:lnTo>
                    <a:pt x="410" y="228"/>
                  </a:lnTo>
                  <a:lnTo>
                    <a:pt x="411" y="231"/>
                  </a:lnTo>
                  <a:lnTo>
                    <a:pt x="411" y="234"/>
                  </a:lnTo>
                  <a:lnTo>
                    <a:pt x="411" y="235"/>
                  </a:lnTo>
                  <a:lnTo>
                    <a:pt x="411" y="234"/>
                  </a:lnTo>
                  <a:lnTo>
                    <a:pt x="410" y="231"/>
                  </a:lnTo>
                  <a:lnTo>
                    <a:pt x="409" y="228"/>
                  </a:lnTo>
                  <a:lnTo>
                    <a:pt x="407" y="225"/>
                  </a:lnTo>
                  <a:lnTo>
                    <a:pt x="405" y="219"/>
                  </a:lnTo>
                  <a:lnTo>
                    <a:pt x="405" y="222"/>
                  </a:lnTo>
                  <a:lnTo>
                    <a:pt x="406" y="225"/>
                  </a:lnTo>
                  <a:lnTo>
                    <a:pt x="406" y="228"/>
                  </a:lnTo>
                  <a:lnTo>
                    <a:pt x="406" y="232"/>
                  </a:lnTo>
                  <a:lnTo>
                    <a:pt x="407" y="234"/>
                  </a:lnTo>
                  <a:lnTo>
                    <a:pt x="407" y="235"/>
                  </a:lnTo>
                  <a:lnTo>
                    <a:pt x="406" y="234"/>
                  </a:lnTo>
                  <a:lnTo>
                    <a:pt x="406" y="239"/>
                  </a:lnTo>
                  <a:lnTo>
                    <a:pt x="406" y="244"/>
                  </a:lnTo>
                  <a:lnTo>
                    <a:pt x="406" y="247"/>
                  </a:lnTo>
                  <a:lnTo>
                    <a:pt x="406" y="250"/>
                  </a:lnTo>
                  <a:lnTo>
                    <a:pt x="406" y="252"/>
                  </a:lnTo>
                  <a:lnTo>
                    <a:pt x="405" y="252"/>
                  </a:lnTo>
                  <a:lnTo>
                    <a:pt x="405" y="252"/>
                  </a:lnTo>
                  <a:lnTo>
                    <a:pt x="405" y="248"/>
                  </a:lnTo>
                  <a:lnTo>
                    <a:pt x="405" y="244"/>
                  </a:lnTo>
                  <a:lnTo>
                    <a:pt x="403" y="239"/>
                  </a:lnTo>
                  <a:lnTo>
                    <a:pt x="402" y="232"/>
                  </a:lnTo>
                  <a:lnTo>
                    <a:pt x="401" y="226"/>
                  </a:lnTo>
                  <a:lnTo>
                    <a:pt x="399" y="227"/>
                  </a:lnTo>
                  <a:lnTo>
                    <a:pt x="399" y="230"/>
                  </a:lnTo>
                  <a:lnTo>
                    <a:pt x="399" y="231"/>
                  </a:lnTo>
                  <a:lnTo>
                    <a:pt x="399" y="232"/>
                  </a:lnTo>
                  <a:lnTo>
                    <a:pt x="399" y="231"/>
                  </a:lnTo>
                  <a:lnTo>
                    <a:pt x="399" y="230"/>
                  </a:lnTo>
                  <a:lnTo>
                    <a:pt x="398" y="227"/>
                  </a:lnTo>
                  <a:lnTo>
                    <a:pt x="397" y="228"/>
                  </a:lnTo>
                  <a:lnTo>
                    <a:pt x="399" y="247"/>
                  </a:lnTo>
                  <a:lnTo>
                    <a:pt x="399" y="263"/>
                  </a:lnTo>
                  <a:lnTo>
                    <a:pt x="398" y="278"/>
                  </a:lnTo>
                  <a:lnTo>
                    <a:pt x="396" y="271"/>
                  </a:lnTo>
                  <a:lnTo>
                    <a:pt x="393" y="265"/>
                  </a:lnTo>
                  <a:lnTo>
                    <a:pt x="392" y="268"/>
                  </a:lnTo>
                  <a:lnTo>
                    <a:pt x="392" y="271"/>
                  </a:lnTo>
                  <a:lnTo>
                    <a:pt x="392" y="272"/>
                  </a:lnTo>
                  <a:lnTo>
                    <a:pt x="392" y="270"/>
                  </a:lnTo>
                  <a:lnTo>
                    <a:pt x="390" y="270"/>
                  </a:lnTo>
                  <a:lnTo>
                    <a:pt x="392" y="275"/>
                  </a:lnTo>
                  <a:lnTo>
                    <a:pt x="392" y="278"/>
                  </a:lnTo>
                  <a:lnTo>
                    <a:pt x="392" y="278"/>
                  </a:lnTo>
                  <a:lnTo>
                    <a:pt x="392" y="278"/>
                  </a:lnTo>
                  <a:lnTo>
                    <a:pt x="390" y="276"/>
                  </a:lnTo>
                  <a:lnTo>
                    <a:pt x="390" y="292"/>
                  </a:lnTo>
                  <a:lnTo>
                    <a:pt x="388" y="279"/>
                  </a:lnTo>
                  <a:lnTo>
                    <a:pt x="387" y="280"/>
                  </a:lnTo>
                  <a:lnTo>
                    <a:pt x="387" y="280"/>
                  </a:lnTo>
                  <a:lnTo>
                    <a:pt x="388" y="284"/>
                  </a:lnTo>
                  <a:lnTo>
                    <a:pt x="388" y="287"/>
                  </a:lnTo>
                  <a:lnTo>
                    <a:pt x="388" y="288"/>
                  </a:lnTo>
                  <a:lnTo>
                    <a:pt x="388" y="289"/>
                  </a:lnTo>
                  <a:lnTo>
                    <a:pt x="385" y="283"/>
                  </a:lnTo>
                  <a:lnTo>
                    <a:pt x="385" y="284"/>
                  </a:lnTo>
                  <a:lnTo>
                    <a:pt x="387" y="290"/>
                  </a:lnTo>
                  <a:lnTo>
                    <a:pt x="387" y="294"/>
                  </a:lnTo>
                  <a:lnTo>
                    <a:pt x="387" y="297"/>
                  </a:lnTo>
                  <a:lnTo>
                    <a:pt x="387" y="298"/>
                  </a:lnTo>
                  <a:lnTo>
                    <a:pt x="387" y="297"/>
                  </a:lnTo>
                  <a:lnTo>
                    <a:pt x="385" y="296"/>
                  </a:lnTo>
                  <a:lnTo>
                    <a:pt x="385" y="293"/>
                  </a:lnTo>
                  <a:lnTo>
                    <a:pt x="385" y="303"/>
                  </a:lnTo>
                  <a:lnTo>
                    <a:pt x="385" y="314"/>
                  </a:lnTo>
                  <a:lnTo>
                    <a:pt x="383" y="306"/>
                  </a:lnTo>
                  <a:lnTo>
                    <a:pt x="381" y="299"/>
                  </a:lnTo>
                  <a:lnTo>
                    <a:pt x="380" y="305"/>
                  </a:lnTo>
                  <a:lnTo>
                    <a:pt x="380" y="312"/>
                  </a:lnTo>
                  <a:lnTo>
                    <a:pt x="381" y="315"/>
                  </a:lnTo>
                  <a:lnTo>
                    <a:pt x="381" y="316"/>
                  </a:lnTo>
                  <a:lnTo>
                    <a:pt x="381" y="318"/>
                  </a:lnTo>
                  <a:lnTo>
                    <a:pt x="381" y="318"/>
                  </a:lnTo>
                  <a:lnTo>
                    <a:pt x="381" y="316"/>
                  </a:lnTo>
                  <a:lnTo>
                    <a:pt x="380" y="328"/>
                  </a:lnTo>
                  <a:lnTo>
                    <a:pt x="379" y="338"/>
                  </a:lnTo>
                  <a:lnTo>
                    <a:pt x="378" y="333"/>
                  </a:lnTo>
                  <a:lnTo>
                    <a:pt x="376" y="334"/>
                  </a:lnTo>
                  <a:lnTo>
                    <a:pt x="376" y="333"/>
                  </a:lnTo>
                  <a:lnTo>
                    <a:pt x="376" y="332"/>
                  </a:lnTo>
                  <a:lnTo>
                    <a:pt x="375" y="325"/>
                  </a:lnTo>
                  <a:lnTo>
                    <a:pt x="374" y="327"/>
                  </a:lnTo>
                  <a:lnTo>
                    <a:pt x="375" y="329"/>
                  </a:lnTo>
                  <a:lnTo>
                    <a:pt x="375" y="330"/>
                  </a:lnTo>
                  <a:lnTo>
                    <a:pt x="375" y="330"/>
                  </a:lnTo>
                  <a:lnTo>
                    <a:pt x="375" y="330"/>
                  </a:lnTo>
                  <a:lnTo>
                    <a:pt x="374" y="329"/>
                  </a:lnTo>
                  <a:lnTo>
                    <a:pt x="374" y="329"/>
                  </a:lnTo>
                  <a:lnTo>
                    <a:pt x="374" y="330"/>
                  </a:lnTo>
                  <a:lnTo>
                    <a:pt x="375" y="332"/>
                  </a:lnTo>
                  <a:lnTo>
                    <a:pt x="375" y="333"/>
                  </a:lnTo>
                  <a:lnTo>
                    <a:pt x="375" y="332"/>
                  </a:lnTo>
                  <a:lnTo>
                    <a:pt x="374" y="330"/>
                  </a:lnTo>
                  <a:lnTo>
                    <a:pt x="372" y="329"/>
                  </a:lnTo>
                  <a:lnTo>
                    <a:pt x="371" y="327"/>
                  </a:lnTo>
                  <a:lnTo>
                    <a:pt x="370" y="330"/>
                  </a:lnTo>
                  <a:lnTo>
                    <a:pt x="371" y="337"/>
                  </a:lnTo>
                  <a:lnTo>
                    <a:pt x="372" y="341"/>
                  </a:lnTo>
                  <a:lnTo>
                    <a:pt x="374" y="345"/>
                  </a:lnTo>
                  <a:lnTo>
                    <a:pt x="374" y="346"/>
                  </a:lnTo>
                  <a:lnTo>
                    <a:pt x="374" y="347"/>
                  </a:lnTo>
                  <a:lnTo>
                    <a:pt x="374" y="347"/>
                  </a:lnTo>
                  <a:lnTo>
                    <a:pt x="372" y="345"/>
                  </a:lnTo>
                  <a:lnTo>
                    <a:pt x="371" y="342"/>
                  </a:lnTo>
                  <a:lnTo>
                    <a:pt x="370" y="339"/>
                  </a:lnTo>
                  <a:lnTo>
                    <a:pt x="369" y="336"/>
                  </a:lnTo>
                  <a:lnTo>
                    <a:pt x="367" y="337"/>
                  </a:lnTo>
                  <a:lnTo>
                    <a:pt x="369" y="341"/>
                  </a:lnTo>
                  <a:lnTo>
                    <a:pt x="370" y="345"/>
                  </a:lnTo>
                  <a:lnTo>
                    <a:pt x="370" y="349"/>
                  </a:lnTo>
                  <a:lnTo>
                    <a:pt x="370" y="352"/>
                  </a:lnTo>
                  <a:lnTo>
                    <a:pt x="370" y="354"/>
                  </a:lnTo>
                  <a:lnTo>
                    <a:pt x="370" y="355"/>
                  </a:lnTo>
                  <a:lnTo>
                    <a:pt x="370" y="354"/>
                  </a:lnTo>
                  <a:lnTo>
                    <a:pt x="370" y="352"/>
                  </a:lnTo>
                  <a:lnTo>
                    <a:pt x="369" y="349"/>
                  </a:lnTo>
                  <a:lnTo>
                    <a:pt x="367" y="345"/>
                  </a:lnTo>
                  <a:lnTo>
                    <a:pt x="366" y="341"/>
                  </a:lnTo>
                  <a:lnTo>
                    <a:pt x="366" y="342"/>
                  </a:lnTo>
                  <a:lnTo>
                    <a:pt x="366" y="346"/>
                  </a:lnTo>
                  <a:lnTo>
                    <a:pt x="366" y="347"/>
                  </a:lnTo>
                  <a:lnTo>
                    <a:pt x="366" y="349"/>
                  </a:lnTo>
                  <a:lnTo>
                    <a:pt x="365" y="349"/>
                  </a:lnTo>
                  <a:lnTo>
                    <a:pt x="365" y="354"/>
                  </a:lnTo>
                  <a:lnTo>
                    <a:pt x="363" y="350"/>
                  </a:lnTo>
                  <a:lnTo>
                    <a:pt x="362" y="345"/>
                  </a:lnTo>
                  <a:lnTo>
                    <a:pt x="361" y="339"/>
                  </a:lnTo>
                  <a:lnTo>
                    <a:pt x="366" y="359"/>
                  </a:lnTo>
                  <a:lnTo>
                    <a:pt x="366" y="359"/>
                  </a:lnTo>
                  <a:lnTo>
                    <a:pt x="365" y="358"/>
                  </a:lnTo>
                  <a:lnTo>
                    <a:pt x="363" y="354"/>
                  </a:lnTo>
                  <a:lnTo>
                    <a:pt x="362" y="351"/>
                  </a:lnTo>
                  <a:lnTo>
                    <a:pt x="360" y="346"/>
                  </a:lnTo>
                  <a:lnTo>
                    <a:pt x="361" y="351"/>
                  </a:lnTo>
                  <a:lnTo>
                    <a:pt x="361" y="355"/>
                  </a:lnTo>
                  <a:lnTo>
                    <a:pt x="362" y="358"/>
                  </a:lnTo>
                  <a:lnTo>
                    <a:pt x="362" y="359"/>
                  </a:lnTo>
                  <a:lnTo>
                    <a:pt x="363" y="360"/>
                  </a:lnTo>
                  <a:lnTo>
                    <a:pt x="362" y="360"/>
                  </a:lnTo>
                  <a:lnTo>
                    <a:pt x="361" y="358"/>
                  </a:lnTo>
                  <a:lnTo>
                    <a:pt x="358" y="356"/>
                  </a:lnTo>
                  <a:lnTo>
                    <a:pt x="356" y="352"/>
                  </a:lnTo>
                  <a:lnTo>
                    <a:pt x="356" y="355"/>
                  </a:lnTo>
                  <a:lnTo>
                    <a:pt x="356" y="358"/>
                  </a:lnTo>
                  <a:lnTo>
                    <a:pt x="356" y="359"/>
                  </a:lnTo>
                  <a:lnTo>
                    <a:pt x="356" y="360"/>
                  </a:lnTo>
                  <a:lnTo>
                    <a:pt x="356" y="359"/>
                  </a:lnTo>
                  <a:lnTo>
                    <a:pt x="354" y="358"/>
                  </a:lnTo>
                  <a:lnTo>
                    <a:pt x="356" y="360"/>
                  </a:lnTo>
                  <a:lnTo>
                    <a:pt x="356" y="364"/>
                  </a:lnTo>
                  <a:lnTo>
                    <a:pt x="356" y="365"/>
                  </a:lnTo>
                  <a:lnTo>
                    <a:pt x="357" y="365"/>
                  </a:lnTo>
                  <a:lnTo>
                    <a:pt x="356" y="365"/>
                  </a:lnTo>
                  <a:lnTo>
                    <a:pt x="356" y="364"/>
                  </a:lnTo>
                  <a:lnTo>
                    <a:pt x="356" y="365"/>
                  </a:lnTo>
                  <a:lnTo>
                    <a:pt x="356" y="365"/>
                  </a:lnTo>
                  <a:lnTo>
                    <a:pt x="353" y="361"/>
                  </a:lnTo>
                  <a:lnTo>
                    <a:pt x="353" y="360"/>
                  </a:lnTo>
                  <a:lnTo>
                    <a:pt x="351" y="364"/>
                  </a:lnTo>
                  <a:lnTo>
                    <a:pt x="351" y="364"/>
                  </a:lnTo>
                  <a:lnTo>
                    <a:pt x="352" y="368"/>
                  </a:lnTo>
                  <a:lnTo>
                    <a:pt x="353" y="370"/>
                  </a:lnTo>
                  <a:lnTo>
                    <a:pt x="354" y="372"/>
                  </a:lnTo>
                  <a:lnTo>
                    <a:pt x="356" y="372"/>
                  </a:lnTo>
                  <a:lnTo>
                    <a:pt x="354" y="372"/>
                  </a:lnTo>
                  <a:lnTo>
                    <a:pt x="353" y="370"/>
                  </a:lnTo>
                  <a:lnTo>
                    <a:pt x="351" y="368"/>
                  </a:lnTo>
                  <a:lnTo>
                    <a:pt x="349" y="364"/>
                  </a:lnTo>
                  <a:lnTo>
                    <a:pt x="347" y="360"/>
                  </a:lnTo>
                  <a:lnTo>
                    <a:pt x="344" y="355"/>
                  </a:lnTo>
                  <a:lnTo>
                    <a:pt x="343" y="360"/>
                  </a:lnTo>
                  <a:lnTo>
                    <a:pt x="343" y="361"/>
                  </a:lnTo>
                  <a:lnTo>
                    <a:pt x="345" y="365"/>
                  </a:lnTo>
                  <a:lnTo>
                    <a:pt x="345" y="369"/>
                  </a:lnTo>
                  <a:lnTo>
                    <a:pt x="347" y="370"/>
                  </a:lnTo>
                  <a:lnTo>
                    <a:pt x="347" y="372"/>
                  </a:lnTo>
                  <a:lnTo>
                    <a:pt x="347" y="370"/>
                  </a:lnTo>
                  <a:lnTo>
                    <a:pt x="345" y="369"/>
                  </a:lnTo>
                  <a:lnTo>
                    <a:pt x="344" y="368"/>
                  </a:lnTo>
                  <a:lnTo>
                    <a:pt x="345" y="372"/>
                  </a:lnTo>
                  <a:lnTo>
                    <a:pt x="347" y="376"/>
                  </a:lnTo>
                  <a:lnTo>
                    <a:pt x="348" y="378"/>
                  </a:lnTo>
                  <a:lnTo>
                    <a:pt x="349" y="381"/>
                  </a:lnTo>
                  <a:lnTo>
                    <a:pt x="349" y="382"/>
                  </a:lnTo>
                  <a:lnTo>
                    <a:pt x="349" y="382"/>
                  </a:lnTo>
                  <a:lnTo>
                    <a:pt x="349" y="382"/>
                  </a:lnTo>
                  <a:lnTo>
                    <a:pt x="348" y="381"/>
                  </a:lnTo>
                  <a:lnTo>
                    <a:pt x="347" y="380"/>
                  </a:lnTo>
                  <a:lnTo>
                    <a:pt x="344" y="376"/>
                  </a:lnTo>
                  <a:lnTo>
                    <a:pt x="343" y="372"/>
                  </a:lnTo>
                  <a:lnTo>
                    <a:pt x="340" y="367"/>
                  </a:lnTo>
                  <a:lnTo>
                    <a:pt x="340" y="368"/>
                  </a:lnTo>
                  <a:lnTo>
                    <a:pt x="341" y="374"/>
                  </a:lnTo>
                  <a:lnTo>
                    <a:pt x="344" y="381"/>
                  </a:lnTo>
                  <a:lnTo>
                    <a:pt x="344" y="385"/>
                  </a:lnTo>
                  <a:lnTo>
                    <a:pt x="345" y="387"/>
                  </a:lnTo>
                  <a:lnTo>
                    <a:pt x="347" y="389"/>
                  </a:lnTo>
                  <a:lnTo>
                    <a:pt x="347" y="389"/>
                  </a:lnTo>
                  <a:lnTo>
                    <a:pt x="345" y="389"/>
                  </a:lnTo>
                  <a:lnTo>
                    <a:pt x="345" y="387"/>
                  </a:lnTo>
                  <a:lnTo>
                    <a:pt x="344" y="385"/>
                  </a:lnTo>
                  <a:lnTo>
                    <a:pt x="341" y="382"/>
                  </a:lnTo>
                  <a:lnTo>
                    <a:pt x="340" y="380"/>
                  </a:lnTo>
                  <a:lnTo>
                    <a:pt x="338" y="376"/>
                  </a:lnTo>
                  <a:lnTo>
                    <a:pt x="338" y="377"/>
                  </a:lnTo>
                  <a:lnTo>
                    <a:pt x="339" y="383"/>
                  </a:lnTo>
                  <a:lnTo>
                    <a:pt x="340" y="387"/>
                  </a:lnTo>
                  <a:lnTo>
                    <a:pt x="341" y="390"/>
                  </a:lnTo>
                  <a:lnTo>
                    <a:pt x="341" y="390"/>
                  </a:lnTo>
                  <a:lnTo>
                    <a:pt x="341" y="390"/>
                  </a:lnTo>
                  <a:lnTo>
                    <a:pt x="340" y="389"/>
                  </a:lnTo>
                  <a:lnTo>
                    <a:pt x="339" y="387"/>
                  </a:lnTo>
                  <a:lnTo>
                    <a:pt x="338" y="385"/>
                  </a:lnTo>
                  <a:lnTo>
                    <a:pt x="338" y="383"/>
                  </a:lnTo>
                  <a:lnTo>
                    <a:pt x="338" y="387"/>
                  </a:lnTo>
                  <a:lnTo>
                    <a:pt x="338" y="389"/>
                  </a:lnTo>
                  <a:lnTo>
                    <a:pt x="339" y="391"/>
                  </a:lnTo>
                  <a:lnTo>
                    <a:pt x="340" y="395"/>
                  </a:lnTo>
                  <a:lnTo>
                    <a:pt x="341" y="398"/>
                  </a:lnTo>
                  <a:lnTo>
                    <a:pt x="341" y="399"/>
                  </a:lnTo>
                  <a:lnTo>
                    <a:pt x="341" y="399"/>
                  </a:lnTo>
                  <a:lnTo>
                    <a:pt x="339" y="395"/>
                  </a:lnTo>
                  <a:lnTo>
                    <a:pt x="339" y="398"/>
                  </a:lnTo>
                  <a:lnTo>
                    <a:pt x="340" y="401"/>
                  </a:lnTo>
                  <a:lnTo>
                    <a:pt x="341" y="404"/>
                  </a:lnTo>
                  <a:lnTo>
                    <a:pt x="341" y="405"/>
                  </a:lnTo>
                  <a:lnTo>
                    <a:pt x="340" y="404"/>
                  </a:lnTo>
                  <a:lnTo>
                    <a:pt x="341" y="407"/>
                  </a:lnTo>
                  <a:lnTo>
                    <a:pt x="341" y="407"/>
                  </a:lnTo>
                  <a:lnTo>
                    <a:pt x="341" y="407"/>
                  </a:lnTo>
                  <a:lnTo>
                    <a:pt x="340" y="404"/>
                  </a:lnTo>
                  <a:lnTo>
                    <a:pt x="339" y="401"/>
                  </a:lnTo>
                  <a:lnTo>
                    <a:pt x="339" y="403"/>
                  </a:lnTo>
                  <a:lnTo>
                    <a:pt x="339" y="405"/>
                  </a:lnTo>
                  <a:lnTo>
                    <a:pt x="339" y="405"/>
                  </a:lnTo>
                  <a:lnTo>
                    <a:pt x="339" y="405"/>
                  </a:lnTo>
                  <a:lnTo>
                    <a:pt x="339" y="405"/>
                  </a:lnTo>
                  <a:lnTo>
                    <a:pt x="339" y="405"/>
                  </a:lnTo>
                  <a:lnTo>
                    <a:pt x="339" y="405"/>
                  </a:lnTo>
                  <a:lnTo>
                    <a:pt x="339" y="405"/>
                  </a:lnTo>
                  <a:lnTo>
                    <a:pt x="339" y="404"/>
                  </a:lnTo>
                  <a:lnTo>
                    <a:pt x="339" y="408"/>
                  </a:lnTo>
                  <a:lnTo>
                    <a:pt x="340" y="411"/>
                  </a:lnTo>
                  <a:lnTo>
                    <a:pt x="340" y="411"/>
                  </a:lnTo>
                  <a:lnTo>
                    <a:pt x="341" y="412"/>
                  </a:lnTo>
                  <a:lnTo>
                    <a:pt x="340" y="411"/>
                  </a:lnTo>
                  <a:lnTo>
                    <a:pt x="340" y="411"/>
                  </a:lnTo>
                  <a:lnTo>
                    <a:pt x="340" y="411"/>
                  </a:lnTo>
                  <a:lnTo>
                    <a:pt x="338" y="408"/>
                  </a:lnTo>
                  <a:lnTo>
                    <a:pt x="335" y="404"/>
                  </a:lnTo>
                  <a:lnTo>
                    <a:pt x="334" y="401"/>
                  </a:lnTo>
                  <a:lnTo>
                    <a:pt x="332" y="399"/>
                  </a:lnTo>
                  <a:lnTo>
                    <a:pt x="332" y="401"/>
                  </a:lnTo>
                  <a:lnTo>
                    <a:pt x="334" y="403"/>
                  </a:lnTo>
                  <a:lnTo>
                    <a:pt x="334" y="403"/>
                  </a:lnTo>
                  <a:lnTo>
                    <a:pt x="334" y="403"/>
                  </a:lnTo>
                  <a:lnTo>
                    <a:pt x="332" y="403"/>
                  </a:lnTo>
                  <a:lnTo>
                    <a:pt x="334" y="408"/>
                  </a:lnTo>
                  <a:lnTo>
                    <a:pt x="335" y="413"/>
                  </a:lnTo>
                  <a:lnTo>
                    <a:pt x="336" y="418"/>
                  </a:lnTo>
                  <a:lnTo>
                    <a:pt x="338" y="421"/>
                  </a:lnTo>
                  <a:lnTo>
                    <a:pt x="338" y="422"/>
                  </a:lnTo>
                  <a:lnTo>
                    <a:pt x="335" y="417"/>
                  </a:lnTo>
                  <a:lnTo>
                    <a:pt x="335" y="418"/>
                  </a:lnTo>
                  <a:lnTo>
                    <a:pt x="335" y="418"/>
                  </a:lnTo>
                  <a:lnTo>
                    <a:pt x="335" y="418"/>
                  </a:lnTo>
                  <a:lnTo>
                    <a:pt x="334" y="416"/>
                  </a:lnTo>
                  <a:lnTo>
                    <a:pt x="336" y="423"/>
                  </a:lnTo>
                  <a:lnTo>
                    <a:pt x="338" y="427"/>
                  </a:lnTo>
                  <a:lnTo>
                    <a:pt x="339" y="430"/>
                  </a:lnTo>
                  <a:lnTo>
                    <a:pt x="339" y="432"/>
                  </a:lnTo>
                  <a:lnTo>
                    <a:pt x="340" y="432"/>
                  </a:lnTo>
                  <a:lnTo>
                    <a:pt x="339" y="432"/>
                  </a:lnTo>
                  <a:lnTo>
                    <a:pt x="338" y="431"/>
                  </a:lnTo>
                  <a:lnTo>
                    <a:pt x="336" y="427"/>
                  </a:lnTo>
                  <a:lnTo>
                    <a:pt x="334" y="425"/>
                  </a:lnTo>
                  <a:lnTo>
                    <a:pt x="331" y="417"/>
                  </a:lnTo>
                  <a:lnTo>
                    <a:pt x="330" y="421"/>
                  </a:lnTo>
                  <a:lnTo>
                    <a:pt x="332" y="425"/>
                  </a:lnTo>
                  <a:lnTo>
                    <a:pt x="334" y="427"/>
                  </a:lnTo>
                  <a:lnTo>
                    <a:pt x="335" y="430"/>
                  </a:lnTo>
                  <a:lnTo>
                    <a:pt x="336" y="431"/>
                  </a:lnTo>
                  <a:lnTo>
                    <a:pt x="336" y="432"/>
                  </a:lnTo>
                  <a:lnTo>
                    <a:pt x="335" y="431"/>
                  </a:lnTo>
                  <a:lnTo>
                    <a:pt x="334" y="430"/>
                  </a:lnTo>
                  <a:lnTo>
                    <a:pt x="331" y="427"/>
                  </a:lnTo>
                  <a:lnTo>
                    <a:pt x="330" y="426"/>
                  </a:lnTo>
                  <a:lnTo>
                    <a:pt x="330" y="427"/>
                  </a:lnTo>
                  <a:lnTo>
                    <a:pt x="331" y="432"/>
                  </a:lnTo>
                  <a:lnTo>
                    <a:pt x="332" y="436"/>
                  </a:lnTo>
                  <a:lnTo>
                    <a:pt x="334" y="440"/>
                  </a:lnTo>
                  <a:lnTo>
                    <a:pt x="335" y="442"/>
                  </a:lnTo>
                  <a:lnTo>
                    <a:pt x="335" y="443"/>
                  </a:lnTo>
                  <a:lnTo>
                    <a:pt x="335" y="443"/>
                  </a:lnTo>
                  <a:lnTo>
                    <a:pt x="334" y="440"/>
                  </a:lnTo>
                  <a:lnTo>
                    <a:pt x="334" y="442"/>
                  </a:lnTo>
                  <a:lnTo>
                    <a:pt x="334" y="440"/>
                  </a:lnTo>
                  <a:lnTo>
                    <a:pt x="332" y="439"/>
                  </a:lnTo>
                  <a:lnTo>
                    <a:pt x="330" y="435"/>
                  </a:lnTo>
                  <a:lnTo>
                    <a:pt x="330" y="435"/>
                  </a:lnTo>
                  <a:lnTo>
                    <a:pt x="331" y="440"/>
                  </a:lnTo>
                  <a:lnTo>
                    <a:pt x="332" y="444"/>
                  </a:lnTo>
                  <a:lnTo>
                    <a:pt x="334" y="447"/>
                  </a:lnTo>
                  <a:lnTo>
                    <a:pt x="334" y="448"/>
                  </a:lnTo>
                  <a:lnTo>
                    <a:pt x="334" y="447"/>
                  </a:lnTo>
                  <a:lnTo>
                    <a:pt x="332" y="445"/>
                  </a:lnTo>
                  <a:lnTo>
                    <a:pt x="331" y="443"/>
                  </a:lnTo>
                  <a:lnTo>
                    <a:pt x="330" y="440"/>
                  </a:lnTo>
                  <a:lnTo>
                    <a:pt x="327" y="436"/>
                  </a:lnTo>
                  <a:lnTo>
                    <a:pt x="327" y="444"/>
                  </a:lnTo>
                  <a:lnTo>
                    <a:pt x="329" y="447"/>
                  </a:lnTo>
                  <a:lnTo>
                    <a:pt x="330" y="449"/>
                  </a:lnTo>
                  <a:lnTo>
                    <a:pt x="331" y="452"/>
                  </a:lnTo>
                  <a:lnTo>
                    <a:pt x="332" y="454"/>
                  </a:lnTo>
                  <a:lnTo>
                    <a:pt x="332" y="456"/>
                  </a:lnTo>
                  <a:lnTo>
                    <a:pt x="332" y="457"/>
                  </a:lnTo>
                  <a:lnTo>
                    <a:pt x="332" y="457"/>
                  </a:lnTo>
                  <a:lnTo>
                    <a:pt x="331" y="456"/>
                  </a:lnTo>
                  <a:lnTo>
                    <a:pt x="330" y="453"/>
                  </a:lnTo>
                  <a:lnTo>
                    <a:pt x="329" y="451"/>
                  </a:lnTo>
                  <a:lnTo>
                    <a:pt x="329" y="452"/>
                  </a:lnTo>
                  <a:lnTo>
                    <a:pt x="330" y="453"/>
                  </a:lnTo>
                  <a:lnTo>
                    <a:pt x="332" y="460"/>
                  </a:lnTo>
                  <a:lnTo>
                    <a:pt x="332" y="458"/>
                  </a:lnTo>
                  <a:lnTo>
                    <a:pt x="330" y="457"/>
                  </a:lnTo>
                  <a:lnTo>
                    <a:pt x="327" y="454"/>
                  </a:lnTo>
                  <a:lnTo>
                    <a:pt x="327" y="456"/>
                  </a:lnTo>
                  <a:lnTo>
                    <a:pt x="326" y="457"/>
                  </a:lnTo>
                  <a:lnTo>
                    <a:pt x="327" y="460"/>
                  </a:lnTo>
                  <a:lnTo>
                    <a:pt x="329" y="461"/>
                  </a:lnTo>
                  <a:lnTo>
                    <a:pt x="332" y="465"/>
                  </a:lnTo>
                  <a:lnTo>
                    <a:pt x="341" y="473"/>
                  </a:lnTo>
                  <a:lnTo>
                    <a:pt x="348" y="478"/>
                  </a:lnTo>
                  <a:lnTo>
                    <a:pt x="354" y="484"/>
                  </a:lnTo>
                  <a:lnTo>
                    <a:pt x="362" y="491"/>
                  </a:lnTo>
                  <a:lnTo>
                    <a:pt x="367" y="498"/>
                  </a:lnTo>
                  <a:lnTo>
                    <a:pt x="389" y="529"/>
                  </a:lnTo>
                  <a:lnTo>
                    <a:pt x="398" y="542"/>
                  </a:lnTo>
                  <a:lnTo>
                    <a:pt x="407" y="553"/>
                  </a:lnTo>
                  <a:lnTo>
                    <a:pt x="412" y="559"/>
                  </a:lnTo>
                  <a:lnTo>
                    <a:pt x="416" y="564"/>
                  </a:lnTo>
                  <a:lnTo>
                    <a:pt x="420" y="568"/>
                  </a:lnTo>
                  <a:lnTo>
                    <a:pt x="425" y="573"/>
                  </a:lnTo>
                  <a:lnTo>
                    <a:pt x="429" y="576"/>
                  </a:lnTo>
                  <a:lnTo>
                    <a:pt x="430" y="578"/>
                  </a:lnTo>
                  <a:lnTo>
                    <a:pt x="433" y="580"/>
                  </a:lnTo>
                  <a:lnTo>
                    <a:pt x="434" y="581"/>
                  </a:lnTo>
                  <a:lnTo>
                    <a:pt x="450" y="596"/>
                  </a:lnTo>
                  <a:lnTo>
                    <a:pt x="455" y="603"/>
                  </a:lnTo>
                  <a:lnTo>
                    <a:pt x="459" y="612"/>
                  </a:lnTo>
                  <a:lnTo>
                    <a:pt x="460" y="617"/>
                  </a:lnTo>
                  <a:lnTo>
                    <a:pt x="460" y="620"/>
                  </a:lnTo>
                  <a:lnTo>
                    <a:pt x="460" y="621"/>
                  </a:lnTo>
                  <a:lnTo>
                    <a:pt x="460" y="621"/>
                  </a:lnTo>
                  <a:lnTo>
                    <a:pt x="460" y="621"/>
                  </a:lnTo>
                  <a:lnTo>
                    <a:pt x="460" y="622"/>
                  </a:lnTo>
                  <a:lnTo>
                    <a:pt x="461" y="627"/>
                  </a:lnTo>
                  <a:lnTo>
                    <a:pt x="460" y="631"/>
                  </a:lnTo>
                  <a:lnTo>
                    <a:pt x="459" y="637"/>
                  </a:lnTo>
                  <a:lnTo>
                    <a:pt x="456" y="640"/>
                  </a:lnTo>
                  <a:lnTo>
                    <a:pt x="452" y="665"/>
                  </a:lnTo>
                  <a:lnTo>
                    <a:pt x="442" y="670"/>
                  </a:lnTo>
                  <a:lnTo>
                    <a:pt x="436" y="680"/>
                  </a:lnTo>
                  <a:lnTo>
                    <a:pt x="432" y="691"/>
                  </a:lnTo>
                  <a:lnTo>
                    <a:pt x="425" y="688"/>
                  </a:lnTo>
                  <a:lnTo>
                    <a:pt x="423" y="683"/>
                  </a:lnTo>
                  <a:lnTo>
                    <a:pt x="424" y="675"/>
                  </a:lnTo>
                  <a:lnTo>
                    <a:pt x="427" y="667"/>
                  </a:lnTo>
                  <a:lnTo>
                    <a:pt x="430" y="660"/>
                  </a:lnTo>
                  <a:lnTo>
                    <a:pt x="421" y="635"/>
                  </a:lnTo>
                  <a:lnTo>
                    <a:pt x="419" y="631"/>
                  </a:lnTo>
                  <a:lnTo>
                    <a:pt x="418" y="629"/>
                  </a:lnTo>
                  <a:lnTo>
                    <a:pt x="414" y="626"/>
                  </a:lnTo>
                  <a:lnTo>
                    <a:pt x="416" y="642"/>
                  </a:lnTo>
                  <a:lnTo>
                    <a:pt x="419" y="657"/>
                  </a:lnTo>
                  <a:lnTo>
                    <a:pt x="418" y="673"/>
                  </a:lnTo>
                  <a:lnTo>
                    <a:pt x="415" y="674"/>
                  </a:lnTo>
                  <a:lnTo>
                    <a:pt x="412" y="674"/>
                  </a:lnTo>
                  <a:lnTo>
                    <a:pt x="411" y="671"/>
                  </a:lnTo>
                  <a:lnTo>
                    <a:pt x="409" y="670"/>
                  </a:lnTo>
                  <a:lnTo>
                    <a:pt x="403" y="664"/>
                  </a:lnTo>
                  <a:lnTo>
                    <a:pt x="399" y="655"/>
                  </a:lnTo>
                  <a:lnTo>
                    <a:pt x="396" y="644"/>
                  </a:lnTo>
                  <a:lnTo>
                    <a:pt x="393" y="637"/>
                  </a:lnTo>
                  <a:lnTo>
                    <a:pt x="392" y="633"/>
                  </a:lnTo>
                  <a:lnTo>
                    <a:pt x="390" y="627"/>
                  </a:lnTo>
                  <a:lnTo>
                    <a:pt x="389" y="624"/>
                  </a:lnTo>
                  <a:lnTo>
                    <a:pt x="388" y="620"/>
                  </a:lnTo>
                  <a:lnTo>
                    <a:pt x="388" y="615"/>
                  </a:lnTo>
                  <a:lnTo>
                    <a:pt x="388" y="613"/>
                  </a:lnTo>
                  <a:lnTo>
                    <a:pt x="387" y="612"/>
                  </a:lnTo>
                  <a:lnTo>
                    <a:pt x="387" y="612"/>
                  </a:lnTo>
                  <a:lnTo>
                    <a:pt x="384" y="609"/>
                  </a:lnTo>
                  <a:lnTo>
                    <a:pt x="383" y="606"/>
                  </a:lnTo>
                  <a:lnTo>
                    <a:pt x="376" y="599"/>
                  </a:lnTo>
                  <a:lnTo>
                    <a:pt x="378" y="606"/>
                  </a:lnTo>
                  <a:lnTo>
                    <a:pt x="378" y="612"/>
                  </a:lnTo>
                  <a:lnTo>
                    <a:pt x="375" y="606"/>
                  </a:lnTo>
                  <a:lnTo>
                    <a:pt x="372" y="599"/>
                  </a:lnTo>
                  <a:lnTo>
                    <a:pt x="370" y="591"/>
                  </a:lnTo>
                  <a:lnTo>
                    <a:pt x="365" y="587"/>
                  </a:lnTo>
                  <a:lnTo>
                    <a:pt x="366" y="593"/>
                  </a:lnTo>
                  <a:lnTo>
                    <a:pt x="366" y="599"/>
                  </a:lnTo>
                  <a:lnTo>
                    <a:pt x="363" y="591"/>
                  </a:lnTo>
                  <a:lnTo>
                    <a:pt x="361" y="582"/>
                  </a:lnTo>
                  <a:lnTo>
                    <a:pt x="358" y="580"/>
                  </a:lnTo>
                  <a:lnTo>
                    <a:pt x="360" y="586"/>
                  </a:lnTo>
                  <a:lnTo>
                    <a:pt x="363" y="598"/>
                  </a:lnTo>
                  <a:lnTo>
                    <a:pt x="366" y="600"/>
                  </a:lnTo>
                  <a:lnTo>
                    <a:pt x="369" y="603"/>
                  </a:lnTo>
                  <a:lnTo>
                    <a:pt x="370" y="604"/>
                  </a:lnTo>
                  <a:lnTo>
                    <a:pt x="370" y="604"/>
                  </a:lnTo>
                  <a:lnTo>
                    <a:pt x="370" y="604"/>
                  </a:lnTo>
                  <a:lnTo>
                    <a:pt x="367" y="603"/>
                  </a:lnTo>
                  <a:lnTo>
                    <a:pt x="365" y="600"/>
                  </a:lnTo>
                  <a:lnTo>
                    <a:pt x="370" y="624"/>
                  </a:lnTo>
                  <a:lnTo>
                    <a:pt x="374" y="648"/>
                  </a:lnTo>
                  <a:lnTo>
                    <a:pt x="375" y="658"/>
                  </a:lnTo>
                  <a:lnTo>
                    <a:pt x="376" y="669"/>
                  </a:lnTo>
                  <a:lnTo>
                    <a:pt x="378" y="678"/>
                  </a:lnTo>
                  <a:lnTo>
                    <a:pt x="380" y="687"/>
                  </a:lnTo>
                  <a:lnTo>
                    <a:pt x="381" y="697"/>
                  </a:lnTo>
                  <a:lnTo>
                    <a:pt x="384" y="706"/>
                  </a:lnTo>
                  <a:lnTo>
                    <a:pt x="384" y="713"/>
                  </a:lnTo>
                  <a:lnTo>
                    <a:pt x="385" y="718"/>
                  </a:lnTo>
                  <a:lnTo>
                    <a:pt x="385" y="718"/>
                  </a:lnTo>
                  <a:lnTo>
                    <a:pt x="385" y="726"/>
                  </a:lnTo>
                  <a:lnTo>
                    <a:pt x="387" y="729"/>
                  </a:lnTo>
                  <a:lnTo>
                    <a:pt x="387" y="728"/>
                  </a:lnTo>
                  <a:lnTo>
                    <a:pt x="387" y="728"/>
                  </a:lnTo>
                  <a:lnTo>
                    <a:pt x="387" y="729"/>
                  </a:lnTo>
                  <a:lnTo>
                    <a:pt x="388" y="731"/>
                  </a:lnTo>
                  <a:lnTo>
                    <a:pt x="388" y="733"/>
                  </a:lnTo>
                  <a:lnTo>
                    <a:pt x="388" y="735"/>
                  </a:lnTo>
                  <a:lnTo>
                    <a:pt x="388" y="736"/>
                  </a:lnTo>
                  <a:lnTo>
                    <a:pt x="388" y="735"/>
                  </a:lnTo>
                  <a:lnTo>
                    <a:pt x="388" y="736"/>
                  </a:lnTo>
                  <a:lnTo>
                    <a:pt x="388" y="739"/>
                  </a:lnTo>
                  <a:lnTo>
                    <a:pt x="388" y="742"/>
                  </a:lnTo>
                  <a:lnTo>
                    <a:pt x="389" y="746"/>
                  </a:lnTo>
                  <a:lnTo>
                    <a:pt x="390" y="749"/>
                  </a:lnTo>
                  <a:lnTo>
                    <a:pt x="392" y="753"/>
                  </a:lnTo>
                  <a:lnTo>
                    <a:pt x="392" y="754"/>
                  </a:lnTo>
                  <a:lnTo>
                    <a:pt x="392" y="755"/>
                  </a:lnTo>
                  <a:lnTo>
                    <a:pt x="388" y="750"/>
                  </a:lnTo>
                  <a:lnTo>
                    <a:pt x="387" y="748"/>
                  </a:lnTo>
                  <a:lnTo>
                    <a:pt x="387" y="753"/>
                  </a:lnTo>
                  <a:lnTo>
                    <a:pt x="385" y="755"/>
                  </a:lnTo>
                  <a:lnTo>
                    <a:pt x="388" y="759"/>
                  </a:lnTo>
                  <a:lnTo>
                    <a:pt x="389" y="763"/>
                  </a:lnTo>
                  <a:lnTo>
                    <a:pt x="389" y="767"/>
                  </a:lnTo>
                  <a:lnTo>
                    <a:pt x="389" y="767"/>
                  </a:lnTo>
                  <a:lnTo>
                    <a:pt x="389" y="767"/>
                  </a:lnTo>
                  <a:lnTo>
                    <a:pt x="388" y="766"/>
                  </a:lnTo>
                  <a:lnTo>
                    <a:pt x="387" y="763"/>
                  </a:lnTo>
                  <a:lnTo>
                    <a:pt x="384" y="760"/>
                  </a:lnTo>
                  <a:lnTo>
                    <a:pt x="384" y="764"/>
                  </a:lnTo>
                  <a:lnTo>
                    <a:pt x="385" y="768"/>
                  </a:lnTo>
                  <a:lnTo>
                    <a:pt x="387" y="772"/>
                  </a:lnTo>
                  <a:lnTo>
                    <a:pt x="387" y="775"/>
                  </a:lnTo>
                  <a:lnTo>
                    <a:pt x="388" y="777"/>
                  </a:lnTo>
                  <a:lnTo>
                    <a:pt x="388" y="777"/>
                  </a:lnTo>
                  <a:lnTo>
                    <a:pt x="384" y="772"/>
                  </a:lnTo>
                  <a:lnTo>
                    <a:pt x="381" y="768"/>
                  </a:lnTo>
                  <a:lnTo>
                    <a:pt x="381" y="770"/>
                  </a:lnTo>
                  <a:lnTo>
                    <a:pt x="379" y="773"/>
                  </a:lnTo>
                  <a:lnTo>
                    <a:pt x="379" y="775"/>
                  </a:lnTo>
                  <a:lnTo>
                    <a:pt x="378" y="776"/>
                  </a:lnTo>
                  <a:lnTo>
                    <a:pt x="378" y="779"/>
                  </a:lnTo>
                  <a:lnTo>
                    <a:pt x="379" y="780"/>
                  </a:lnTo>
                  <a:lnTo>
                    <a:pt x="379" y="780"/>
                  </a:lnTo>
                  <a:lnTo>
                    <a:pt x="379" y="780"/>
                  </a:lnTo>
                  <a:lnTo>
                    <a:pt x="378" y="779"/>
                  </a:lnTo>
                  <a:lnTo>
                    <a:pt x="376" y="777"/>
                  </a:lnTo>
                  <a:lnTo>
                    <a:pt x="372" y="784"/>
                  </a:lnTo>
                  <a:lnTo>
                    <a:pt x="367" y="791"/>
                  </a:lnTo>
                  <a:lnTo>
                    <a:pt x="367" y="794"/>
                  </a:lnTo>
                  <a:lnTo>
                    <a:pt x="367" y="797"/>
                  </a:lnTo>
                  <a:lnTo>
                    <a:pt x="367" y="797"/>
                  </a:lnTo>
                  <a:lnTo>
                    <a:pt x="366" y="797"/>
                  </a:lnTo>
                  <a:lnTo>
                    <a:pt x="366" y="794"/>
                  </a:lnTo>
                  <a:lnTo>
                    <a:pt x="365" y="795"/>
                  </a:lnTo>
                  <a:lnTo>
                    <a:pt x="365" y="797"/>
                  </a:lnTo>
                  <a:lnTo>
                    <a:pt x="365" y="797"/>
                  </a:lnTo>
                  <a:lnTo>
                    <a:pt x="363" y="798"/>
                  </a:lnTo>
                  <a:lnTo>
                    <a:pt x="363" y="803"/>
                  </a:lnTo>
                  <a:lnTo>
                    <a:pt x="363" y="807"/>
                  </a:lnTo>
                  <a:lnTo>
                    <a:pt x="363" y="810"/>
                  </a:lnTo>
                  <a:lnTo>
                    <a:pt x="363" y="811"/>
                  </a:lnTo>
                  <a:lnTo>
                    <a:pt x="362" y="810"/>
                  </a:lnTo>
                  <a:lnTo>
                    <a:pt x="362" y="808"/>
                  </a:lnTo>
                  <a:lnTo>
                    <a:pt x="362" y="804"/>
                  </a:lnTo>
                  <a:lnTo>
                    <a:pt x="361" y="802"/>
                  </a:lnTo>
                  <a:lnTo>
                    <a:pt x="358" y="804"/>
                  </a:lnTo>
                  <a:lnTo>
                    <a:pt x="358" y="806"/>
                  </a:lnTo>
                  <a:lnTo>
                    <a:pt x="358" y="807"/>
                  </a:lnTo>
                  <a:lnTo>
                    <a:pt x="358" y="807"/>
                  </a:lnTo>
                  <a:lnTo>
                    <a:pt x="358" y="806"/>
                  </a:lnTo>
                  <a:lnTo>
                    <a:pt x="357" y="807"/>
                  </a:lnTo>
                  <a:lnTo>
                    <a:pt x="357" y="812"/>
                  </a:lnTo>
                  <a:lnTo>
                    <a:pt x="357" y="817"/>
                  </a:lnTo>
                  <a:lnTo>
                    <a:pt x="357" y="820"/>
                  </a:lnTo>
                  <a:lnTo>
                    <a:pt x="356" y="821"/>
                  </a:lnTo>
                  <a:lnTo>
                    <a:pt x="356" y="820"/>
                  </a:lnTo>
                  <a:lnTo>
                    <a:pt x="356" y="817"/>
                  </a:lnTo>
                  <a:lnTo>
                    <a:pt x="354" y="815"/>
                  </a:lnTo>
                  <a:lnTo>
                    <a:pt x="354" y="811"/>
                  </a:lnTo>
                  <a:lnTo>
                    <a:pt x="353" y="812"/>
                  </a:lnTo>
                  <a:lnTo>
                    <a:pt x="353" y="813"/>
                  </a:lnTo>
                  <a:lnTo>
                    <a:pt x="353" y="816"/>
                  </a:lnTo>
                  <a:lnTo>
                    <a:pt x="353" y="821"/>
                  </a:lnTo>
                  <a:lnTo>
                    <a:pt x="353" y="824"/>
                  </a:lnTo>
                  <a:lnTo>
                    <a:pt x="353" y="825"/>
                  </a:lnTo>
                  <a:lnTo>
                    <a:pt x="353" y="824"/>
                  </a:lnTo>
                  <a:lnTo>
                    <a:pt x="352" y="822"/>
                  </a:lnTo>
                  <a:lnTo>
                    <a:pt x="352" y="820"/>
                  </a:lnTo>
                  <a:lnTo>
                    <a:pt x="351" y="815"/>
                  </a:lnTo>
                  <a:lnTo>
                    <a:pt x="348" y="819"/>
                  </a:lnTo>
                  <a:lnTo>
                    <a:pt x="348" y="825"/>
                  </a:lnTo>
                  <a:lnTo>
                    <a:pt x="348" y="829"/>
                  </a:lnTo>
                  <a:lnTo>
                    <a:pt x="348" y="833"/>
                  </a:lnTo>
                  <a:lnTo>
                    <a:pt x="348" y="834"/>
                  </a:lnTo>
                  <a:lnTo>
                    <a:pt x="348" y="833"/>
                  </a:lnTo>
                  <a:lnTo>
                    <a:pt x="347" y="830"/>
                  </a:lnTo>
                  <a:lnTo>
                    <a:pt x="347" y="826"/>
                  </a:lnTo>
                  <a:lnTo>
                    <a:pt x="345" y="821"/>
                  </a:lnTo>
                  <a:lnTo>
                    <a:pt x="345" y="822"/>
                  </a:lnTo>
                  <a:lnTo>
                    <a:pt x="347" y="835"/>
                  </a:lnTo>
                  <a:lnTo>
                    <a:pt x="347" y="844"/>
                  </a:lnTo>
                  <a:lnTo>
                    <a:pt x="347" y="847"/>
                  </a:lnTo>
                  <a:lnTo>
                    <a:pt x="347" y="847"/>
                  </a:lnTo>
                  <a:lnTo>
                    <a:pt x="345" y="844"/>
                  </a:lnTo>
                  <a:lnTo>
                    <a:pt x="344" y="841"/>
                  </a:lnTo>
                  <a:lnTo>
                    <a:pt x="343" y="835"/>
                  </a:lnTo>
                  <a:lnTo>
                    <a:pt x="343" y="833"/>
                  </a:lnTo>
                  <a:lnTo>
                    <a:pt x="341" y="828"/>
                  </a:lnTo>
                  <a:lnTo>
                    <a:pt x="340" y="828"/>
                  </a:lnTo>
                  <a:lnTo>
                    <a:pt x="340" y="830"/>
                  </a:lnTo>
                  <a:lnTo>
                    <a:pt x="341" y="842"/>
                  </a:lnTo>
                  <a:lnTo>
                    <a:pt x="341" y="850"/>
                  </a:lnTo>
                  <a:lnTo>
                    <a:pt x="343" y="853"/>
                  </a:lnTo>
                  <a:lnTo>
                    <a:pt x="341" y="852"/>
                  </a:lnTo>
                  <a:lnTo>
                    <a:pt x="341" y="850"/>
                  </a:lnTo>
                  <a:lnTo>
                    <a:pt x="340" y="847"/>
                  </a:lnTo>
                  <a:lnTo>
                    <a:pt x="340" y="852"/>
                  </a:lnTo>
                  <a:lnTo>
                    <a:pt x="339" y="856"/>
                  </a:lnTo>
                  <a:lnTo>
                    <a:pt x="339" y="859"/>
                  </a:lnTo>
                  <a:lnTo>
                    <a:pt x="339" y="860"/>
                  </a:lnTo>
                  <a:lnTo>
                    <a:pt x="339" y="859"/>
                  </a:lnTo>
                  <a:lnTo>
                    <a:pt x="339" y="857"/>
                  </a:lnTo>
                  <a:lnTo>
                    <a:pt x="338" y="853"/>
                  </a:lnTo>
                  <a:lnTo>
                    <a:pt x="336" y="850"/>
                  </a:lnTo>
                  <a:lnTo>
                    <a:pt x="336" y="844"/>
                  </a:lnTo>
                  <a:lnTo>
                    <a:pt x="336" y="850"/>
                  </a:lnTo>
                  <a:lnTo>
                    <a:pt x="338" y="859"/>
                  </a:lnTo>
                  <a:lnTo>
                    <a:pt x="338" y="859"/>
                  </a:lnTo>
                  <a:lnTo>
                    <a:pt x="336" y="856"/>
                  </a:lnTo>
                  <a:lnTo>
                    <a:pt x="335" y="853"/>
                  </a:lnTo>
                  <a:lnTo>
                    <a:pt x="335" y="850"/>
                  </a:lnTo>
                  <a:lnTo>
                    <a:pt x="334" y="844"/>
                  </a:lnTo>
                  <a:lnTo>
                    <a:pt x="332" y="850"/>
                  </a:lnTo>
                  <a:lnTo>
                    <a:pt x="332" y="859"/>
                  </a:lnTo>
                  <a:lnTo>
                    <a:pt x="332" y="865"/>
                  </a:lnTo>
                  <a:lnTo>
                    <a:pt x="332" y="870"/>
                  </a:lnTo>
                  <a:lnTo>
                    <a:pt x="332" y="873"/>
                  </a:lnTo>
                  <a:lnTo>
                    <a:pt x="332" y="875"/>
                  </a:lnTo>
                  <a:lnTo>
                    <a:pt x="332" y="875"/>
                  </a:lnTo>
                  <a:lnTo>
                    <a:pt x="332" y="875"/>
                  </a:lnTo>
                  <a:lnTo>
                    <a:pt x="332" y="873"/>
                  </a:lnTo>
                  <a:lnTo>
                    <a:pt x="331" y="870"/>
                  </a:lnTo>
                  <a:lnTo>
                    <a:pt x="330" y="865"/>
                  </a:lnTo>
                  <a:lnTo>
                    <a:pt x="330" y="861"/>
                  </a:lnTo>
                  <a:lnTo>
                    <a:pt x="330" y="865"/>
                  </a:lnTo>
                  <a:lnTo>
                    <a:pt x="330" y="869"/>
                  </a:lnTo>
                  <a:lnTo>
                    <a:pt x="330" y="870"/>
                  </a:lnTo>
                  <a:lnTo>
                    <a:pt x="330" y="870"/>
                  </a:lnTo>
                  <a:lnTo>
                    <a:pt x="330" y="874"/>
                  </a:lnTo>
                  <a:lnTo>
                    <a:pt x="331" y="878"/>
                  </a:lnTo>
                  <a:lnTo>
                    <a:pt x="331" y="881"/>
                  </a:lnTo>
                  <a:lnTo>
                    <a:pt x="331" y="881"/>
                  </a:lnTo>
                  <a:lnTo>
                    <a:pt x="331" y="881"/>
                  </a:lnTo>
                  <a:lnTo>
                    <a:pt x="330" y="878"/>
                  </a:lnTo>
                  <a:lnTo>
                    <a:pt x="329" y="875"/>
                  </a:lnTo>
                  <a:lnTo>
                    <a:pt x="327" y="870"/>
                  </a:lnTo>
                  <a:lnTo>
                    <a:pt x="326" y="865"/>
                  </a:lnTo>
                  <a:lnTo>
                    <a:pt x="325" y="857"/>
                  </a:lnTo>
                  <a:lnTo>
                    <a:pt x="323" y="859"/>
                  </a:lnTo>
                  <a:lnTo>
                    <a:pt x="323" y="864"/>
                  </a:lnTo>
                  <a:lnTo>
                    <a:pt x="322" y="877"/>
                  </a:lnTo>
                  <a:lnTo>
                    <a:pt x="322" y="878"/>
                  </a:lnTo>
                  <a:lnTo>
                    <a:pt x="323" y="882"/>
                  </a:lnTo>
                  <a:lnTo>
                    <a:pt x="323" y="884"/>
                  </a:lnTo>
                  <a:lnTo>
                    <a:pt x="325" y="886"/>
                  </a:lnTo>
                  <a:lnTo>
                    <a:pt x="325" y="887"/>
                  </a:lnTo>
                  <a:lnTo>
                    <a:pt x="325" y="886"/>
                  </a:lnTo>
                  <a:lnTo>
                    <a:pt x="323" y="884"/>
                  </a:lnTo>
                  <a:lnTo>
                    <a:pt x="323" y="887"/>
                  </a:lnTo>
                  <a:lnTo>
                    <a:pt x="325" y="892"/>
                  </a:lnTo>
                  <a:lnTo>
                    <a:pt x="325" y="896"/>
                  </a:lnTo>
                  <a:lnTo>
                    <a:pt x="326" y="897"/>
                  </a:lnTo>
                  <a:lnTo>
                    <a:pt x="326" y="899"/>
                  </a:lnTo>
                  <a:lnTo>
                    <a:pt x="326" y="899"/>
                  </a:lnTo>
                  <a:lnTo>
                    <a:pt x="325" y="896"/>
                  </a:lnTo>
                  <a:lnTo>
                    <a:pt x="323" y="893"/>
                  </a:lnTo>
                  <a:lnTo>
                    <a:pt x="322" y="888"/>
                  </a:lnTo>
                  <a:lnTo>
                    <a:pt x="322" y="892"/>
                  </a:lnTo>
                  <a:lnTo>
                    <a:pt x="323" y="893"/>
                  </a:lnTo>
                  <a:lnTo>
                    <a:pt x="323" y="895"/>
                  </a:lnTo>
                  <a:lnTo>
                    <a:pt x="322" y="893"/>
                  </a:lnTo>
                  <a:lnTo>
                    <a:pt x="322" y="892"/>
                  </a:lnTo>
                  <a:lnTo>
                    <a:pt x="321" y="890"/>
                  </a:lnTo>
                  <a:lnTo>
                    <a:pt x="321" y="892"/>
                  </a:lnTo>
                  <a:lnTo>
                    <a:pt x="318" y="901"/>
                  </a:lnTo>
                  <a:lnTo>
                    <a:pt x="320" y="909"/>
                  </a:lnTo>
                  <a:lnTo>
                    <a:pt x="321" y="914"/>
                  </a:lnTo>
                  <a:lnTo>
                    <a:pt x="321" y="919"/>
                  </a:lnTo>
                  <a:lnTo>
                    <a:pt x="321" y="922"/>
                  </a:lnTo>
                  <a:lnTo>
                    <a:pt x="321" y="922"/>
                  </a:lnTo>
                  <a:lnTo>
                    <a:pt x="321" y="922"/>
                  </a:lnTo>
                  <a:lnTo>
                    <a:pt x="321" y="919"/>
                  </a:lnTo>
                  <a:lnTo>
                    <a:pt x="320" y="915"/>
                  </a:lnTo>
                  <a:lnTo>
                    <a:pt x="318" y="909"/>
                  </a:lnTo>
                  <a:lnTo>
                    <a:pt x="317" y="906"/>
                  </a:lnTo>
                  <a:lnTo>
                    <a:pt x="316" y="905"/>
                  </a:lnTo>
                  <a:lnTo>
                    <a:pt x="314" y="901"/>
                  </a:lnTo>
                  <a:lnTo>
                    <a:pt x="312" y="896"/>
                  </a:lnTo>
                  <a:lnTo>
                    <a:pt x="312" y="904"/>
                  </a:lnTo>
                  <a:lnTo>
                    <a:pt x="311" y="912"/>
                  </a:lnTo>
                  <a:lnTo>
                    <a:pt x="312" y="915"/>
                  </a:lnTo>
                  <a:lnTo>
                    <a:pt x="313" y="919"/>
                  </a:lnTo>
                  <a:lnTo>
                    <a:pt x="313" y="922"/>
                  </a:lnTo>
                  <a:lnTo>
                    <a:pt x="314" y="923"/>
                  </a:lnTo>
                  <a:lnTo>
                    <a:pt x="314" y="923"/>
                  </a:lnTo>
                  <a:lnTo>
                    <a:pt x="313" y="923"/>
                  </a:lnTo>
                  <a:lnTo>
                    <a:pt x="313" y="922"/>
                  </a:lnTo>
                  <a:lnTo>
                    <a:pt x="312" y="921"/>
                  </a:lnTo>
                  <a:lnTo>
                    <a:pt x="312" y="922"/>
                  </a:lnTo>
                  <a:lnTo>
                    <a:pt x="312" y="922"/>
                  </a:lnTo>
                  <a:lnTo>
                    <a:pt x="312" y="921"/>
                  </a:lnTo>
                  <a:lnTo>
                    <a:pt x="312" y="919"/>
                  </a:lnTo>
                  <a:lnTo>
                    <a:pt x="312" y="924"/>
                  </a:lnTo>
                  <a:lnTo>
                    <a:pt x="312" y="927"/>
                  </a:lnTo>
                  <a:lnTo>
                    <a:pt x="312" y="928"/>
                  </a:lnTo>
                  <a:lnTo>
                    <a:pt x="312" y="927"/>
                  </a:lnTo>
                  <a:lnTo>
                    <a:pt x="312" y="926"/>
                  </a:lnTo>
                  <a:lnTo>
                    <a:pt x="311" y="923"/>
                  </a:lnTo>
                  <a:lnTo>
                    <a:pt x="309" y="919"/>
                  </a:lnTo>
                  <a:lnTo>
                    <a:pt x="308" y="923"/>
                  </a:lnTo>
                  <a:lnTo>
                    <a:pt x="308" y="924"/>
                  </a:lnTo>
                  <a:lnTo>
                    <a:pt x="308" y="924"/>
                  </a:lnTo>
                  <a:lnTo>
                    <a:pt x="305" y="927"/>
                  </a:lnTo>
                  <a:lnTo>
                    <a:pt x="305" y="934"/>
                  </a:lnTo>
                  <a:lnTo>
                    <a:pt x="307" y="937"/>
                  </a:lnTo>
                  <a:lnTo>
                    <a:pt x="307" y="940"/>
                  </a:lnTo>
                  <a:lnTo>
                    <a:pt x="307" y="941"/>
                  </a:lnTo>
                  <a:lnTo>
                    <a:pt x="307" y="940"/>
                  </a:lnTo>
                  <a:lnTo>
                    <a:pt x="307" y="944"/>
                  </a:lnTo>
                  <a:lnTo>
                    <a:pt x="307" y="945"/>
                  </a:lnTo>
                  <a:lnTo>
                    <a:pt x="307" y="946"/>
                  </a:lnTo>
                  <a:lnTo>
                    <a:pt x="304" y="939"/>
                  </a:lnTo>
                  <a:lnTo>
                    <a:pt x="303" y="935"/>
                  </a:lnTo>
                  <a:lnTo>
                    <a:pt x="300" y="928"/>
                  </a:lnTo>
                  <a:lnTo>
                    <a:pt x="300" y="930"/>
                  </a:lnTo>
                  <a:lnTo>
                    <a:pt x="303" y="944"/>
                  </a:lnTo>
                  <a:lnTo>
                    <a:pt x="305" y="954"/>
                  </a:lnTo>
                  <a:lnTo>
                    <a:pt x="305" y="958"/>
                  </a:lnTo>
                  <a:lnTo>
                    <a:pt x="305" y="957"/>
                  </a:lnTo>
                  <a:lnTo>
                    <a:pt x="304" y="955"/>
                  </a:lnTo>
                  <a:lnTo>
                    <a:pt x="303" y="952"/>
                  </a:lnTo>
                  <a:lnTo>
                    <a:pt x="302" y="946"/>
                  </a:lnTo>
                  <a:lnTo>
                    <a:pt x="299" y="941"/>
                  </a:lnTo>
                  <a:lnTo>
                    <a:pt x="299" y="948"/>
                  </a:lnTo>
                  <a:lnTo>
                    <a:pt x="300" y="953"/>
                  </a:lnTo>
                  <a:lnTo>
                    <a:pt x="300" y="958"/>
                  </a:lnTo>
                  <a:lnTo>
                    <a:pt x="300" y="962"/>
                  </a:lnTo>
                  <a:lnTo>
                    <a:pt x="302" y="965"/>
                  </a:lnTo>
                  <a:lnTo>
                    <a:pt x="302" y="966"/>
                  </a:lnTo>
                  <a:lnTo>
                    <a:pt x="300" y="965"/>
                  </a:lnTo>
                  <a:lnTo>
                    <a:pt x="300" y="963"/>
                  </a:lnTo>
                  <a:lnTo>
                    <a:pt x="299" y="961"/>
                  </a:lnTo>
                  <a:lnTo>
                    <a:pt x="298" y="957"/>
                  </a:lnTo>
                  <a:lnTo>
                    <a:pt x="298" y="957"/>
                  </a:lnTo>
                  <a:lnTo>
                    <a:pt x="296" y="952"/>
                  </a:lnTo>
                  <a:lnTo>
                    <a:pt x="296" y="953"/>
                  </a:lnTo>
                  <a:lnTo>
                    <a:pt x="298" y="959"/>
                  </a:lnTo>
                  <a:lnTo>
                    <a:pt x="298" y="966"/>
                  </a:lnTo>
                  <a:lnTo>
                    <a:pt x="299" y="968"/>
                  </a:lnTo>
                  <a:lnTo>
                    <a:pt x="299" y="972"/>
                  </a:lnTo>
                  <a:lnTo>
                    <a:pt x="302" y="977"/>
                  </a:lnTo>
                  <a:lnTo>
                    <a:pt x="303" y="983"/>
                  </a:lnTo>
                  <a:lnTo>
                    <a:pt x="304" y="986"/>
                  </a:lnTo>
                  <a:lnTo>
                    <a:pt x="305" y="989"/>
                  </a:lnTo>
                  <a:lnTo>
                    <a:pt x="307" y="990"/>
                  </a:lnTo>
                  <a:lnTo>
                    <a:pt x="307" y="992"/>
                  </a:lnTo>
                  <a:lnTo>
                    <a:pt x="307" y="990"/>
                  </a:lnTo>
                  <a:lnTo>
                    <a:pt x="305" y="989"/>
                  </a:lnTo>
                  <a:lnTo>
                    <a:pt x="304" y="986"/>
                  </a:lnTo>
                  <a:lnTo>
                    <a:pt x="302" y="983"/>
                  </a:lnTo>
                  <a:lnTo>
                    <a:pt x="298" y="977"/>
                  </a:lnTo>
                  <a:lnTo>
                    <a:pt x="295" y="971"/>
                  </a:lnTo>
                  <a:lnTo>
                    <a:pt x="296" y="977"/>
                  </a:lnTo>
                  <a:lnTo>
                    <a:pt x="296" y="981"/>
                  </a:lnTo>
                  <a:lnTo>
                    <a:pt x="296" y="985"/>
                  </a:lnTo>
                  <a:lnTo>
                    <a:pt x="296" y="986"/>
                  </a:lnTo>
                  <a:lnTo>
                    <a:pt x="296" y="985"/>
                  </a:lnTo>
                  <a:lnTo>
                    <a:pt x="295" y="983"/>
                  </a:lnTo>
                  <a:lnTo>
                    <a:pt x="295" y="980"/>
                  </a:lnTo>
                  <a:lnTo>
                    <a:pt x="294" y="976"/>
                  </a:lnTo>
                  <a:lnTo>
                    <a:pt x="293" y="971"/>
                  </a:lnTo>
                  <a:lnTo>
                    <a:pt x="291" y="966"/>
                  </a:lnTo>
                  <a:lnTo>
                    <a:pt x="291" y="967"/>
                  </a:lnTo>
                  <a:lnTo>
                    <a:pt x="287" y="958"/>
                  </a:lnTo>
                  <a:lnTo>
                    <a:pt x="287" y="961"/>
                  </a:lnTo>
                  <a:lnTo>
                    <a:pt x="287" y="963"/>
                  </a:lnTo>
                  <a:lnTo>
                    <a:pt x="293" y="979"/>
                  </a:lnTo>
                  <a:lnTo>
                    <a:pt x="296" y="993"/>
                  </a:lnTo>
                  <a:lnTo>
                    <a:pt x="299" y="1002"/>
                  </a:lnTo>
                  <a:lnTo>
                    <a:pt x="300" y="1006"/>
                  </a:lnTo>
                  <a:lnTo>
                    <a:pt x="299" y="1003"/>
                  </a:lnTo>
                  <a:lnTo>
                    <a:pt x="296" y="998"/>
                  </a:lnTo>
                  <a:lnTo>
                    <a:pt x="293" y="989"/>
                  </a:lnTo>
                  <a:lnTo>
                    <a:pt x="287" y="977"/>
                  </a:lnTo>
                  <a:lnTo>
                    <a:pt x="290" y="984"/>
                  </a:lnTo>
                  <a:lnTo>
                    <a:pt x="291" y="990"/>
                  </a:lnTo>
                  <a:lnTo>
                    <a:pt x="293" y="995"/>
                  </a:lnTo>
                  <a:lnTo>
                    <a:pt x="294" y="998"/>
                  </a:lnTo>
                  <a:lnTo>
                    <a:pt x="294" y="1001"/>
                  </a:lnTo>
                  <a:lnTo>
                    <a:pt x="294" y="1001"/>
                  </a:lnTo>
                  <a:lnTo>
                    <a:pt x="294" y="1001"/>
                  </a:lnTo>
                  <a:lnTo>
                    <a:pt x="293" y="998"/>
                  </a:lnTo>
                  <a:lnTo>
                    <a:pt x="294" y="1005"/>
                  </a:lnTo>
                  <a:lnTo>
                    <a:pt x="294" y="1005"/>
                  </a:lnTo>
                  <a:lnTo>
                    <a:pt x="300" y="1008"/>
                  </a:lnTo>
                  <a:lnTo>
                    <a:pt x="307" y="1014"/>
                  </a:lnTo>
                  <a:lnTo>
                    <a:pt x="313" y="1017"/>
                  </a:lnTo>
                  <a:lnTo>
                    <a:pt x="320" y="1020"/>
                  </a:lnTo>
                  <a:lnTo>
                    <a:pt x="325" y="1023"/>
                  </a:lnTo>
                  <a:lnTo>
                    <a:pt x="330" y="1024"/>
                  </a:lnTo>
                  <a:lnTo>
                    <a:pt x="332" y="1025"/>
                  </a:lnTo>
                  <a:lnTo>
                    <a:pt x="335" y="1026"/>
                  </a:lnTo>
                  <a:lnTo>
                    <a:pt x="335" y="1026"/>
                  </a:lnTo>
                  <a:lnTo>
                    <a:pt x="335" y="1026"/>
                  </a:lnTo>
                  <a:lnTo>
                    <a:pt x="332" y="1026"/>
                  </a:lnTo>
                  <a:lnTo>
                    <a:pt x="329" y="1025"/>
                  </a:lnTo>
                  <a:lnTo>
                    <a:pt x="325" y="1025"/>
                  </a:lnTo>
                  <a:lnTo>
                    <a:pt x="321" y="1024"/>
                  </a:lnTo>
                  <a:lnTo>
                    <a:pt x="317" y="1023"/>
                  </a:lnTo>
                  <a:lnTo>
                    <a:pt x="323" y="1028"/>
                  </a:lnTo>
                  <a:lnTo>
                    <a:pt x="327" y="1032"/>
                  </a:lnTo>
                  <a:lnTo>
                    <a:pt x="332" y="1034"/>
                  </a:lnTo>
                  <a:lnTo>
                    <a:pt x="339" y="1038"/>
                  </a:lnTo>
                  <a:lnTo>
                    <a:pt x="348" y="1041"/>
                  </a:lnTo>
                  <a:lnTo>
                    <a:pt x="357" y="1042"/>
                  </a:lnTo>
                  <a:lnTo>
                    <a:pt x="369" y="1045"/>
                  </a:lnTo>
                  <a:lnTo>
                    <a:pt x="379" y="1048"/>
                  </a:lnTo>
                  <a:lnTo>
                    <a:pt x="384" y="1050"/>
                  </a:lnTo>
                  <a:lnTo>
                    <a:pt x="388" y="1052"/>
                  </a:lnTo>
                  <a:lnTo>
                    <a:pt x="392" y="1055"/>
                  </a:lnTo>
                  <a:lnTo>
                    <a:pt x="394" y="1057"/>
                  </a:lnTo>
                  <a:lnTo>
                    <a:pt x="396" y="1061"/>
                  </a:lnTo>
                  <a:lnTo>
                    <a:pt x="396" y="1065"/>
                  </a:lnTo>
                  <a:lnTo>
                    <a:pt x="396" y="1065"/>
                  </a:lnTo>
                  <a:lnTo>
                    <a:pt x="396" y="1065"/>
                  </a:lnTo>
                  <a:lnTo>
                    <a:pt x="397" y="1068"/>
                  </a:lnTo>
                  <a:lnTo>
                    <a:pt x="397" y="1070"/>
                  </a:lnTo>
                  <a:lnTo>
                    <a:pt x="397" y="1074"/>
                  </a:lnTo>
                  <a:lnTo>
                    <a:pt x="394" y="1078"/>
                  </a:lnTo>
                  <a:lnTo>
                    <a:pt x="393" y="1079"/>
                  </a:lnTo>
                  <a:lnTo>
                    <a:pt x="389" y="1083"/>
                  </a:lnTo>
                  <a:lnTo>
                    <a:pt x="387" y="1085"/>
                  </a:lnTo>
                  <a:lnTo>
                    <a:pt x="383" y="1085"/>
                  </a:lnTo>
                  <a:lnTo>
                    <a:pt x="383" y="1085"/>
                  </a:lnTo>
                  <a:lnTo>
                    <a:pt x="380" y="1088"/>
                  </a:lnTo>
                  <a:lnTo>
                    <a:pt x="378" y="1090"/>
                  </a:lnTo>
                  <a:lnTo>
                    <a:pt x="374" y="1091"/>
                  </a:lnTo>
                  <a:lnTo>
                    <a:pt x="370" y="1092"/>
                  </a:lnTo>
                  <a:lnTo>
                    <a:pt x="366" y="1092"/>
                  </a:lnTo>
                  <a:lnTo>
                    <a:pt x="362" y="1092"/>
                  </a:lnTo>
                  <a:lnTo>
                    <a:pt x="360" y="1094"/>
                  </a:lnTo>
                  <a:lnTo>
                    <a:pt x="353" y="1095"/>
                  </a:lnTo>
                  <a:lnTo>
                    <a:pt x="347" y="1096"/>
                  </a:lnTo>
                  <a:lnTo>
                    <a:pt x="340" y="1096"/>
                  </a:lnTo>
                  <a:lnTo>
                    <a:pt x="329" y="1096"/>
                  </a:lnTo>
                  <a:lnTo>
                    <a:pt x="317" y="1094"/>
                  </a:lnTo>
                  <a:lnTo>
                    <a:pt x="307" y="1091"/>
                  </a:lnTo>
                  <a:lnTo>
                    <a:pt x="296" y="1088"/>
                  </a:lnTo>
                  <a:lnTo>
                    <a:pt x="283" y="1085"/>
                  </a:lnTo>
                  <a:lnTo>
                    <a:pt x="269" y="1079"/>
                  </a:lnTo>
                  <a:lnTo>
                    <a:pt x="263" y="1079"/>
                  </a:lnTo>
                  <a:lnTo>
                    <a:pt x="268" y="1079"/>
                  </a:lnTo>
                  <a:lnTo>
                    <a:pt x="265" y="1078"/>
                  </a:lnTo>
                  <a:lnTo>
                    <a:pt x="263" y="1078"/>
                  </a:lnTo>
                  <a:lnTo>
                    <a:pt x="254" y="1077"/>
                  </a:lnTo>
                  <a:lnTo>
                    <a:pt x="247" y="1079"/>
                  </a:lnTo>
                  <a:lnTo>
                    <a:pt x="236" y="1079"/>
                  </a:lnTo>
                  <a:lnTo>
                    <a:pt x="223" y="1081"/>
                  </a:lnTo>
                  <a:lnTo>
                    <a:pt x="211" y="1079"/>
                  </a:lnTo>
                  <a:lnTo>
                    <a:pt x="209" y="1076"/>
                  </a:lnTo>
                  <a:lnTo>
                    <a:pt x="206" y="1073"/>
                  </a:lnTo>
                  <a:lnTo>
                    <a:pt x="204" y="1068"/>
                  </a:lnTo>
                  <a:lnTo>
                    <a:pt x="204" y="1064"/>
                  </a:lnTo>
                  <a:lnTo>
                    <a:pt x="204" y="1060"/>
                  </a:lnTo>
                  <a:lnTo>
                    <a:pt x="204" y="1057"/>
                  </a:lnTo>
                  <a:lnTo>
                    <a:pt x="205" y="1054"/>
                  </a:lnTo>
                  <a:lnTo>
                    <a:pt x="206" y="1051"/>
                  </a:lnTo>
                  <a:lnTo>
                    <a:pt x="209" y="1042"/>
                  </a:lnTo>
                  <a:lnTo>
                    <a:pt x="214" y="1016"/>
                  </a:lnTo>
                  <a:lnTo>
                    <a:pt x="218" y="990"/>
                  </a:lnTo>
                  <a:lnTo>
                    <a:pt x="220" y="981"/>
                  </a:lnTo>
                  <a:lnTo>
                    <a:pt x="222" y="974"/>
                  </a:lnTo>
                  <a:lnTo>
                    <a:pt x="222" y="970"/>
                  </a:lnTo>
                  <a:lnTo>
                    <a:pt x="219" y="975"/>
                  </a:lnTo>
                  <a:lnTo>
                    <a:pt x="218" y="980"/>
                  </a:lnTo>
                  <a:lnTo>
                    <a:pt x="216" y="984"/>
                  </a:lnTo>
                  <a:lnTo>
                    <a:pt x="216" y="986"/>
                  </a:lnTo>
                  <a:lnTo>
                    <a:pt x="216" y="988"/>
                  </a:lnTo>
                  <a:lnTo>
                    <a:pt x="218" y="989"/>
                  </a:lnTo>
                  <a:lnTo>
                    <a:pt x="216" y="988"/>
                  </a:lnTo>
                  <a:lnTo>
                    <a:pt x="215" y="986"/>
                  </a:lnTo>
                  <a:lnTo>
                    <a:pt x="215" y="984"/>
                  </a:lnTo>
                  <a:lnTo>
                    <a:pt x="215" y="979"/>
                  </a:lnTo>
                  <a:lnTo>
                    <a:pt x="219" y="968"/>
                  </a:lnTo>
                  <a:lnTo>
                    <a:pt x="224" y="957"/>
                  </a:lnTo>
                  <a:lnTo>
                    <a:pt x="224" y="957"/>
                  </a:lnTo>
                  <a:lnTo>
                    <a:pt x="228" y="946"/>
                  </a:lnTo>
                  <a:lnTo>
                    <a:pt x="232" y="937"/>
                  </a:lnTo>
                  <a:lnTo>
                    <a:pt x="229" y="940"/>
                  </a:lnTo>
                  <a:lnTo>
                    <a:pt x="227" y="946"/>
                  </a:lnTo>
                  <a:lnTo>
                    <a:pt x="225" y="952"/>
                  </a:lnTo>
                  <a:lnTo>
                    <a:pt x="223" y="957"/>
                  </a:lnTo>
                  <a:lnTo>
                    <a:pt x="222" y="961"/>
                  </a:lnTo>
                  <a:lnTo>
                    <a:pt x="222" y="963"/>
                  </a:lnTo>
                  <a:lnTo>
                    <a:pt x="220" y="965"/>
                  </a:lnTo>
                  <a:lnTo>
                    <a:pt x="220" y="966"/>
                  </a:lnTo>
                  <a:lnTo>
                    <a:pt x="220" y="965"/>
                  </a:lnTo>
                  <a:lnTo>
                    <a:pt x="220" y="961"/>
                  </a:lnTo>
                  <a:lnTo>
                    <a:pt x="222" y="955"/>
                  </a:lnTo>
                  <a:lnTo>
                    <a:pt x="222" y="950"/>
                  </a:lnTo>
                  <a:lnTo>
                    <a:pt x="224" y="945"/>
                  </a:lnTo>
                  <a:lnTo>
                    <a:pt x="222" y="946"/>
                  </a:lnTo>
                  <a:lnTo>
                    <a:pt x="223" y="943"/>
                  </a:lnTo>
                  <a:lnTo>
                    <a:pt x="223" y="939"/>
                  </a:lnTo>
                  <a:lnTo>
                    <a:pt x="224" y="935"/>
                  </a:lnTo>
                  <a:lnTo>
                    <a:pt x="224" y="934"/>
                  </a:lnTo>
                  <a:lnTo>
                    <a:pt x="223" y="936"/>
                  </a:lnTo>
                  <a:lnTo>
                    <a:pt x="222" y="940"/>
                  </a:lnTo>
                  <a:lnTo>
                    <a:pt x="220" y="945"/>
                  </a:lnTo>
                  <a:lnTo>
                    <a:pt x="220" y="948"/>
                  </a:lnTo>
                  <a:lnTo>
                    <a:pt x="220" y="949"/>
                  </a:lnTo>
                  <a:lnTo>
                    <a:pt x="220" y="948"/>
                  </a:lnTo>
                  <a:lnTo>
                    <a:pt x="219" y="945"/>
                  </a:lnTo>
                  <a:lnTo>
                    <a:pt x="219" y="941"/>
                  </a:lnTo>
                  <a:lnTo>
                    <a:pt x="216" y="949"/>
                  </a:lnTo>
                  <a:lnTo>
                    <a:pt x="213" y="955"/>
                  </a:lnTo>
                  <a:lnTo>
                    <a:pt x="216" y="940"/>
                  </a:lnTo>
                  <a:lnTo>
                    <a:pt x="222" y="921"/>
                  </a:lnTo>
                  <a:lnTo>
                    <a:pt x="229" y="901"/>
                  </a:lnTo>
                  <a:lnTo>
                    <a:pt x="229" y="897"/>
                  </a:lnTo>
                  <a:lnTo>
                    <a:pt x="231" y="893"/>
                  </a:lnTo>
                  <a:lnTo>
                    <a:pt x="231" y="893"/>
                  </a:lnTo>
                  <a:lnTo>
                    <a:pt x="229" y="899"/>
                  </a:lnTo>
                  <a:lnTo>
                    <a:pt x="229" y="899"/>
                  </a:lnTo>
                  <a:lnTo>
                    <a:pt x="228" y="901"/>
                  </a:lnTo>
                  <a:lnTo>
                    <a:pt x="227" y="904"/>
                  </a:lnTo>
                  <a:lnTo>
                    <a:pt x="227" y="904"/>
                  </a:lnTo>
                  <a:lnTo>
                    <a:pt x="227" y="904"/>
                  </a:lnTo>
                  <a:lnTo>
                    <a:pt x="225" y="909"/>
                  </a:lnTo>
                  <a:lnTo>
                    <a:pt x="222" y="918"/>
                  </a:lnTo>
                  <a:lnTo>
                    <a:pt x="222" y="917"/>
                  </a:lnTo>
                  <a:lnTo>
                    <a:pt x="222" y="915"/>
                  </a:lnTo>
                  <a:lnTo>
                    <a:pt x="222" y="912"/>
                  </a:lnTo>
                  <a:lnTo>
                    <a:pt x="223" y="908"/>
                  </a:lnTo>
                  <a:lnTo>
                    <a:pt x="224" y="901"/>
                  </a:lnTo>
                  <a:lnTo>
                    <a:pt x="227" y="892"/>
                  </a:lnTo>
                  <a:lnTo>
                    <a:pt x="227" y="888"/>
                  </a:lnTo>
                  <a:lnTo>
                    <a:pt x="225" y="891"/>
                  </a:lnTo>
                  <a:lnTo>
                    <a:pt x="225" y="892"/>
                  </a:lnTo>
                  <a:lnTo>
                    <a:pt x="224" y="892"/>
                  </a:lnTo>
                  <a:lnTo>
                    <a:pt x="225" y="891"/>
                  </a:lnTo>
                  <a:lnTo>
                    <a:pt x="225" y="890"/>
                  </a:lnTo>
                  <a:lnTo>
                    <a:pt x="225" y="886"/>
                  </a:lnTo>
                  <a:lnTo>
                    <a:pt x="225" y="886"/>
                  </a:lnTo>
                  <a:lnTo>
                    <a:pt x="225" y="887"/>
                  </a:lnTo>
                  <a:lnTo>
                    <a:pt x="225" y="888"/>
                  </a:lnTo>
                  <a:lnTo>
                    <a:pt x="225" y="887"/>
                  </a:lnTo>
                  <a:lnTo>
                    <a:pt x="224" y="884"/>
                  </a:lnTo>
                  <a:lnTo>
                    <a:pt x="224" y="886"/>
                  </a:lnTo>
                  <a:lnTo>
                    <a:pt x="223" y="886"/>
                  </a:lnTo>
                  <a:lnTo>
                    <a:pt x="223" y="886"/>
                  </a:lnTo>
                  <a:lnTo>
                    <a:pt x="223" y="886"/>
                  </a:lnTo>
                  <a:lnTo>
                    <a:pt x="223" y="886"/>
                  </a:lnTo>
                  <a:lnTo>
                    <a:pt x="223" y="887"/>
                  </a:lnTo>
                  <a:lnTo>
                    <a:pt x="223" y="888"/>
                  </a:lnTo>
                  <a:lnTo>
                    <a:pt x="223" y="887"/>
                  </a:lnTo>
                  <a:lnTo>
                    <a:pt x="223" y="886"/>
                  </a:lnTo>
                  <a:lnTo>
                    <a:pt x="222" y="887"/>
                  </a:lnTo>
                  <a:lnTo>
                    <a:pt x="222" y="891"/>
                  </a:lnTo>
                  <a:lnTo>
                    <a:pt x="220" y="895"/>
                  </a:lnTo>
                  <a:lnTo>
                    <a:pt x="220" y="899"/>
                  </a:lnTo>
                  <a:lnTo>
                    <a:pt x="220" y="899"/>
                  </a:lnTo>
                  <a:lnTo>
                    <a:pt x="220" y="899"/>
                  </a:lnTo>
                  <a:lnTo>
                    <a:pt x="220" y="897"/>
                  </a:lnTo>
                  <a:lnTo>
                    <a:pt x="219" y="895"/>
                  </a:lnTo>
                  <a:lnTo>
                    <a:pt x="219" y="895"/>
                  </a:lnTo>
                  <a:lnTo>
                    <a:pt x="219" y="895"/>
                  </a:lnTo>
                  <a:lnTo>
                    <a:pt x="219" y="893"/>
                  </a:lnTo>
                  <a:lnTo>
                    <a:pt x="219" y="892"/>
                  </a:lnTo>
                  <a:lnTo>
                    <a:pt x="219" y="891"/>
                  </a:lnTo>
                  <a:lnTo>
                    <a:pt x="218" y="890"/>
                  </a:lnTo>
                  <a:lnTo>
                    <a:pt x="215" y="891"/>
                  </a:lnTo>
                  <a:lnTo>
                    <a:pt x="210" y="895"/>
                  </a:lnTo>
                  <a:lnTo>
                    <a:pt x="207" y="900"/>
                  </a:lnTo>
                  <a:lnTo>
                    <a:pt x="206" y="904"/>
                  </a:lnTo>
                  <a:lnTo>
                    <a:pt x="205" y="905"/>
                  </a:lnTo>
                  <a:lnTo>
                    <a:pt x="205" y="908"/>
                  </a:lnTo>
                  <a:lnTo>
                    <a:pt x="206" y="909"/>
                  </a:lnTo>
                  <a:lnTo>
                    <a:pt x="206" y="910"/>
                  </a:lnTo>
                  <a:lnTo>
                    <a:pt x="205" y="910"/>
                  </a:lnTo>
                  <a:lnTo>
                    <a:pt x="205" y="909"/>
                  </a:lnTo>
                  <a:lnTo>
                    <a:pt x="204" y="906"/>
                  </a:lnTo>
                  <a:lnTo>
                    <a:pt x="202" y="910"/>
                  </a:lnTo>
                  <a:lnTo>
                    <a:pt x="204" y="905"/>
                  </a:lnTo>
                  <a:lnTo>
                    <a:pt x="201" y="899"/>
                  </a:lnTo>
                  <a:lnTo>
                    <a:pt x="200" y="903"/>
                  </a:lnTo>
                  <a:lnTo>
                    <a:pt x="200" y="905"/>
                  </a:lnTo>
                  <a:lnTo>
                    <a:pt x="200" y="906"/>
                  </a:lnTo>
                  <a:lnTo>
                    <a:pt x="200" y="908"/>
                  </a:lnTo>
                  <a:lnTo>
                    <a:pt x="200" y="906"/>
                  </a:lnTo>
                  <a:lnTo>
                    <a:pt x="200" y="905"/>
                  </a:lnTo>
                  <a:lnTo>
                    <a:pt x="198" y="903"/>
                  </a:lnTo>
                  <a:lnTo>
                    <a:pt x="197" y="901"/>
                  </a:lnTo>
                  <a:lnTo>
                    <a:pt x="196" y="905"/>
                  </a:lnTo>
                  <a:lnTo>
                    <a:pt x="195" y="909"/>
                  </a:lnTo>
                  <a:lnTo>
                    <a:pt x="193" y="910"/>
                  </a:lnTo>
                  <a:lnTo>
                    <a:pt x="193" y="912"/>
                  </a:lnTo>
                  <a:lnTo>
                    <a:pt x="195" y="908"/>
                  </a:lnTo>
                  <a:lnTo>
                    <a:pt x="193" y="909"/>
                  </a:lnTo>
                  <a:lnTo>
                    <a:pt x="192" y="912"/>
                  </a:lnTo>
                  <a:lnTo>
                    <a:pt x="191" y="913"/>
                  </a:lnTo>
                  <a:lnTo>
                    <a:pt x="191" y="913"/>
                  </a:lnTo>
                  <a:lnTo>
                    <a:pt x="191" y="913"/>
                  </a:lnTo>
                  <a:lnTo>
                    <a:pt x="191" y="910"/>
                  </a:lnTo>
                  <a:lnTo>
                    <a:pt x="192" y="908"/>
                  </a:lnTo>
                  <a:lnTo>
                    <a:pt x="192" y="905"/>
                  </a:lnTo>
                  <a:lnTo>
                    <a:pt x="192" y="904"/>
                  </a:lnTo>
                  <a:lnTo>
                    <a:pt x="192" y="903"/>
                  </a:lnTo>
                  <a:lnTo>
                    <a:pt x="188" y="904"/>
                  </a:lnTo>
                  <a:lnTo>
                    <a:pt x="188" y="906"/>
                  </a:lnTo>
                  <a:lnTo>
                    <a:pt x="188" y="906"/>
                  </a:lnTo>
                  <a:lnTo>
                    <a:pt x="188" y="906"/>
                  </a:lnTo>
                  <a:lnTo>
                    <a:pt x="188" y="905"/>
                  </a:lnTo>
                  <a:lnTo>
                    <a:pt x="188" y="905"/>
                  </a:lnTo>
                  <a:lnTo>
                    <a:pt x="188" y="909"/>
                  </a:lnTo>
                  <a:lnTo>
                    <a:pt x="188" y="912"/>
                  </a:lnTo>
                  <a:lnTo>
                    <a:pt x="187" y="913"/>
                  </a:lnTo>
                  <a:lnTo>
                    <a:pt x="187" y="913"/>
                  </a:lnTo>
                  <a:lnTo>
                    <a:pt x="187" y="912"/>
                  </a:lnTo>
                  <a:lnTo>
                    <a:pt x="186" y="909"/>
                  </a:lnTo>
                  <a:lnTo>
                    <a:pt x="186" y="913"/>
                  </a:lnTo>
                  <a:lnTo>
                    <a:pt x="184" y="915"/>
                  </a:lnTo>
                  <a:lnTo>
                    <a:pt x="184" y="915"/>
                  </a:lnTo>
                  <a:lnTo>
                    <a:pt x="184" y="915"/>
                  </a:lnTo>
                  <a:lnTo>
                    <a:pt x="184" y="913"/>
                  </a:lnTo>
                  <a:lnTo>
                    <a:pt x="184" y="910"/>
                  </a:lnTo>
                  <a:lnTo>
                    <a:pt x="186" y="906"/>
                  </a:lnTo>
                  <a:lnTo>
                    <a:pt x="186" y="906"/>
                  </a:lnTo>
                  <a:lnTo>
                    <a:pt x="183" y="906"/>
                  </a:lnTo>
                  <a:lnTo>
                    <a:pt x="180" y="910"/>
                  </a:lnTo>
                  <a:lnTo>
                    <a:pt x="179" y="912"/>
                  </a:lnTo>
                  <a:lnTo>
                    <a:pt x="179" y="913"/>
                  </a:lnTo>
                  <a:lnTo>
                    <a:pt x="179" y="912"/>
                  </a:lnTo>
                  <a:lnTo>
                    <a:pt x="179" y="910"/>
                  </a:lnTo>
                  <a:lnTo>
                    <a:pt x="180" y="908"/>
                  </a:lnTo>
                  <a:lnTo>
                    <a:pt x="178" y="909"/>
                  </a:lnTo>
                  <a:lnTo>
                    <a:pt x="178" y="912"/>
                  </a:lnTo>
                  <a:lnTo>
                    <a:pt x="179" y="915"/>
                  </a:lnTo>
                  <a:lnTo>
                    <a:pt x="180" y="918"/>
                  </a:lnTo>
                  <a:lnTo>
                    <a:pt x="180" y="918"/>
                  </a:lnTo>
                  <a:lnTo>
                    <a:pt x="180" y="918"/>
                  </a:lnTo>
                  <a:lnTo>
                    <a:pt x="179" y="917"/>
                  </a:lnTo>
                  <a:lnTo>
                    <a:pt x="178" y="915"/>
                  </a:lnTo>
                  <a:lnTo>
                    <a:pt x="176" y="913"/>
                  </a:lnTo>
                  <a:lnTo>
                    <a:pt x="176" y="912"/>
                  </a:lnTo>
                  <a:lnTo>
                    <a:pt x="175" y="917"/>
                  </a:lnTo>
                  <a:lnTo>
                    <a:pt x="174" y="921"/>
                  </a:lnTo>
                  <a:lnTo>
                    <a:pt x="174" y="923"/>
                  </a:lnTo>
                  <a:lnTo>
                    <a:pt x="174" y="923"/>
                  </a:lnTo>
                  <a:lnTo>
                    <a:pt x="174" y="923"/>
                  </a:lnTo>
                  <a:lnTo>
                    <a:pt x="174" y="921"/>
                  </a:lnTo>
                  <a:lnTo>
                    <a:pt x="174" y="917"/>
                  </a:lnTo>
                  <a:lnTo>
                    <a:pt x="174" y="913"/>
                  </a:lnTo>
                  <a:lnTo>
                    <a:pt x="174" y="910"/>
                  </a:lnTo>
                  <a:lnTo>
                    <a:pt x="174" y="910"/>
                  </a:lnTo>
                  <a:lnTo>
                    <a:pt x="173" y="914"/>
                  </a:lnTo>
                  <a:lnTo>
                    <a:pt x="171" y="918"/>
                  </a:lnTo>
                  <a:lnTo>
                    <a:pt x="170" y="921"/>
                  </a:lnTo>
                  <a:lnTo>
                    <a:pt x="169" y="923"/>
                  </a:lnTo>
                  <a:lnTo>
                    <a:pt x="169" y="923"/>
                  </a:lnTo>
                  <a:lnTo>
                    <a:pt x="169" y="923"/>
                  </a:lnTo>
                  <a:lnTo>
                    <a:pt x="169" y="921"/>
                  </a:lnTo>
                  <a:lnTo>
                    <a:pt x="169" y="919"/>
                  </a:lnTo>
                  <a:lnTo>
                    <a:pt x="169" y="918"/>
                  </a:lnTo>
                  <a:lnTo>
                    <a:pt x="167" y="917"/>
                  </a:lnTo>
                  <a:lnTo>
                    <a:pt x="166" y="921"/>
                  </a:lnTo>
                  <a:lnTo>
                    <a:pt x="165" y="923"/>
                  </a:lnTo>
                  <a:lnTo>
                    <a:pt x="164" y="926"/>
                  </a:lnTo>
                  <a:lnTo>
                    <a:pt x="164" y="927"/>
                  </a:lnTo>
                  <a:lnTo>
                    <a:pt x="165" y="928"/>
                  </a:lnTo>
                  <a:lnTo>
                    <a:pt x="164" y="928"/>
                  </a:lnTo>
                  <a:lnTo>
                    <a:pt x="164" y="927"/>
                  </a:lnTo>
                  <a:lnTo>
                    <a:pt x="162" y="926"/>
                  </a:lnTo>
                  <a:lnTo>
                    <a:pt x="161" y="927"/>
                  </a:lnTo>
                  <a:lnTo>
                    <a:pt x="161" y="928"/>
                  </a:lnTo>
                  <a:lnTo>
                    <a:pt x="160" y="928"/>
                  </a:lnTo>
                  <a:lnTo>
                    <a:pt x="161" y="924"/>
                  </a:lnTo>
                  <a:lnTo>
                    <a:pt x="160" y="922"/>
                  </a:lnTo>
                  <a:lnTo>
                    <a:pt x="158" y="918"/>
                  </a:lnTo>
                  <a:lnTo>
                    <a:pt x="157" y="922"/>
                  </a:lnTo>
                  <a:lnTo>
                    <a:pt x="156" y="924"/>
                  </a:lnTo>
                  <a:lnTo>
                    <a:pt x="155" y="927"/>
                  </a:lnTo>
                  <a:lnTo>
                    <a:pt x="153" y="928"/>
                  </a:lnTo>
                  <a:lnTo>
                    <a:pt x="153" y="930"/>
                  </a:lnTo>
                  <a:lnTo>
                    <a:pt x="153" y="928"/>
                  </a:lnTo>
                  <a:lnTo>
                    <a:pt x="153" y="926"/>
                  </a:lnTo>
                  <a:lnTo>
                    <a:pt x="153" y="923"/>
                  </a:lnTo>
                  <a:lnTo>
                    <a:pt x="155" y="919"/>
                  </a:lnTo>
                  <a:lnTo>
                    <a:pt x="155" y="919"/>
                  </a:lnTo>
                  <a:lnTo>
                    <a:pt x="155" y="918"/>
                  </a:lnTo>
                  <a:lnTo>
                    <a:pt x="153" y="919"/>
                  </a:lnTo>
                  <a:lnTo>
                    <a:pt x="152" y="922"/>
                  </a:lnTo>
                  <a:lnTo>
                    <a:pt x="151" y="924"/>
                  </a:lnTo>
                  <a:lnTo>
                    <a:pt x="151" y="927"/>
                  </a:lnTo>
                  <a:lnTo>
                    <a:pt x="151" y="930"/>
                  </a:lnTo>
                  <a:lnTo>
                    <a:pt x="151" y="931"/>
                  </a:lnTo>
                  <a:lnTo>
                    <a:pt x="151" y="930"/>
                  </a:lnTo>
                  <a:lnTo>
                    <a:pt x="149" y="927"/>
                  </a:lnTo>
                  <a:lnTo>
                    <a:pt x="149" y="927"/>
                  </a:lnTo>
                  <a:lnTo>
                    <a:pt x="147" y="934"/>
                  </a:lnTo>
                  <a:lnTo>
                    <a:pt x="148" y="924"/>
                  </a:lnTo>
                  <a:lnTo>
                    <a:pt x="148" y="921"/>
                  </a:lnTo>
                  <a:lnTo>
                    <a:pt x="147" y="922"/>
                  </a:lnTo>
                  <a:lnTo>
                    <a:pt x="147" y="922"/>
                  </a:lnTo>
                  <a:lnTo>
                    <a:pt x="146" y="922"/>
                  </a:lnTo>
                  <a:lnTo>
                    <a:pt x="144" y="922"/>
                  </a:lnTo>
                  <a:lnTo>
                    <a:pt x="144" y="922"/>
                  </a:lnTo>
                  <a:lnTo>
                    <a:pt x="143" y="926"/>
                  </a:lnTo>
                  <a:lnTo>
                    <a:pt x="143" y="930"/>
                  </a:lnTo>
                  <a:lnTo>
                    <a:pt x="143" y="932"/>
                  </a:lnTo>
                  <a:lnTo>
                    <a:pt x="143" y="935"/>
                  </a:lnTo>
                  <a:lnTo>
                    <a:pt x="143" y="936"/>
                  </a:lnTo>
                  <a:lnTo>
                    <a:pt x="143" y="935"/>
                  </a:lnTo>
                  <a:lnTo>
                    <a:pt x="142" y="934"/>
                  </a:lnTo>
                  <a:lnTo>
                    <a:pt x="142" y="931"/>
                  </a:lnTo>
                  <a:lnTo>
                    <a:pt x="142" y="934"/>
                  </a:lnTo>
                  <a:lnTo>
                    <a:pt x="140" y="934"/>
                  </a:lnTo>
                  <a:lnTo>
                    <a:pt x="140" y="934"/>
                  </a:lnTo>
                  <a:lnTo>
                    <a:pt x="140" y="931"/>
                  </a:lnTo>
                  <a:lnTo>
                    <a:pt x="140" y="932"/>
                  </a:lnTo>
                  <a:lnTo>
                    <a:pt x="138" y="935"/>
                  </a:lnTo>
                  <a:lnTo>
                    <a:pt x="137" y="937"/>
                  </a:lnTo>
                  <a:lnTo>
                    <a:pt x="137" y="940"/>
                  </a:lnTo>
                  <a:lnTo>
                    <a:pt x="135" y="941"/>
                  </a:lnTo>
                  <a:lnTo>
                    <a:pt x="135" y="940"/>
                  </a:lnTo>
                  <a:lnTo>
                    <a:pt x="135" y="937"/>
                  </a:lnTo>
                  <a:lnTo>
                    <a:pt x="135" y="935"/>
                  </a:lnTo>
                  <a:lnTo>
                    <a:pt x="135" y="931"/>
                  </a:lnTo>
                  <a:lnTo>
                    <a:pt x="134" y="927"/>
                  </a:lnTo>
                  <a:lnTo>
                    <a:pt x="133" y="928"/>
                  </a:lnTo>
                  <a:lnTo>
                    <a:pt x="133" y="936"/>
                  </a:lnTo>
                  <a:lnTo>
                    <a:pt x="131" y="943"/>
                  </a:lnTo>
                  <a:lnTo>
                    <a:pt x="131" y="949"/>
                  </a:lnTo>
                  <a:lnTo>
                    <a:pt x="131" y="948"/>
                  </a:lnTo>
                  <a:lnTo>
                    <a:pt x="130" y="946"/>
                  </a:lnTo>
                  <a:lnTo>
                    <a:pt x="130" y="943"/>
                  </a:lnTo>
                  <a:lnTo>
                    <a:pt x="129" y="939"/>
                  </a:lnTo>
                  <a:lnTo>
                    <a:pt x="129" y="934"/>
                  </a:lnTo>
                  <a:lnTo>
                    <a:pt x="127" y="945"/>
                  </a:lnTo>
                  <a:lnTo>
                    <a:pt x="126" y="954"/>
                  </a:lnTo>
                  <a:lnTo>
                    <a:pt x="125" y="957"/>
                  </a:lnTo>
                  <a:lnTo>
                    <a:pt x="125" y="954"/>
                  </a:lnTo>
                  <a:lnTo>
                    <a:pt x="125" y="946"/>
                  </a:lnTo>
                  <a:lnTo>
                    <a:pt x="125" y="936"/>
                  </a:lnTo>
                  <a:lnTo>
                    <a:pt x="124" y="936"/>
                  </a:lnTo>
                  <a:lnTo>
                    <a:pt x="124" y="943"/>
                  </a:lnTo>
                  <a:lnTo>
                    <a:pt x="122" y="948"/>
                  </a:lnTo>
                  <a:lnTo>
                    <a:pt x="122" y="952"/>
                  </a:lnTo>
                  <a:lnTo>
                    <a:pt x="121" y="954"/>
                  </a:lnTo>
                  <a:lnTo>
                    <a:pt x="121" y="955"/>
                  </a:lnTo>
                  <a:lnTo>
                    <a:pt x="121" y="954"/>
                  </a:lnTo>
                  <a:lnTo>
                    <a:pt x="121" y="952"/>
                  </a:lnTo>
                  <a:lnTo>
                    <a:pt x="121" y="948"/>
                  </a:lnTo>
                  <a:lnTo>
                    <a:pt x="120" y="943"/>
                  </a:lnTo>
                  <a:lnTo>
                    <a:pt x="120" y="944"/>
                  </a:lnTo>
                  <a:lnTo>
                    <a:pt x="118" y="957"/>
                  </a:lnTo>
                  <a:lnTo>
                    <a:pt x="117" y="966"/>
                  </a:lnTo>
                  <a:lnTo>
                    <a:pt x="116" y="968"/>
                  </a:lnTo>
                  <a:lnTo>
                    <a:pt x="116" y="968"/>
                  </a:lnTo>
                  <a:lnTo>
                    <a:pt x="116" y="966"/>
                  </a:lnTo>
                  <a:lnTo>
                    <a:pt x="116" y="962"/>
                  </a:lnTo>
                  <a:lnTo>
                    <a:pt x="116" y="958"/>
                  </a:lnTo>
                  <a:lnTo>
                    <a:pt x="116" y="953"/>
                  </a:lnTo>
                  <a:lnTo>
                    <a:pt x="113" y="958"/>
                  </a:lnTo>
                  <a:lnTo>
                    <a:pt x="113" y="962"/>
                  </a:lnTo>
                  <a:lnTo>
                    <a:pt x="112" y="967"/>
                  </a:lnTo>
                  <a:lnTo>
                    <a:pt x="112" y="970"/>
                  </a:lnTo>
                  <a:lnTo>
                    <a:pt x="112" y="972"/>
                  </a:lnTo>
                  <a:lnTo>
                    <a:pt x="112" y="972"/>
                  </a:lnTo>
                  <a:lnTo>
                    <a:pt x="111" y="972"/>
                  </a:lnTo>
                  <a:lnTo>
                    <a:pt x="111" y="970"/>
                  </a:lnTo>
                  <a:lnTo>
                    <a:pt x="111" y="998"/>
                  </a:lnTo>
                  <a:lnTo>
                    <a:pt x="120" y="1016"/>
                  </a:lnTo>
                  <a:lnTo>
                    <a:pt x="124" y="1019"/>
                  </a:lnTo>
                  <a:lnTo>
                    <a:pt x="127" y="1023"/>
                  </a:lnTo>
                  <a:lnTo>
                    <a:pt x="130" y="1025"/>
                  </a:lnTo>
                  <a:lnTo>
                    <a:pt x="134" y="1028"/>
                  </a:lnTo>
                  <a:lnTo>
                    <a:pt x="137" y="1030"/>
                  </a:lnTo>
                  <a:lnTo>
                    <a:pt x="139" y="1033"/>
                  </a:lnTo>
                  <a:lnTo>
                    <a:pt x="139" y="1036"/>
                  </a:lnTo>
                  <a:lnTo>
                    <a:pt x="138" y="1038"/>
                  </a:lnTo>
                  <a:lnTo>
                    <a:pt x="137" y="1041"/>
                  </a:lnTo>
                  <a:lnTo>
                    <a:pt x="134" y="1043"/>
                  </a:lnTo>
                  <a:lnTo>
                    <a:pt x="130" y="1043"/>
                  </a:lnTo>
                  <a:lnTo>
                    <a:pt x="126" y="1045"/>
                  </a:lnTo>
                  <a:lnTo>
                    <a:pt x="122" y="1046"/>
                  </a:lnTo>
                  <a:lnTo>
                    <a:pt x="122" y="1050"/>
                  </a:lnTo>
                  <a:lnTo>
                    <a:pt x="122" y="1054"/>
                  </a:lnTo>
                  <a:lnTo>
                    <a:pt x="116" y="1054"/>
                  </a:lnTo>
                  <a:lnTo>
                    <a:pt x="111" y="1054"/>
                  </a:lnTo>
                  <a:lnTo>
                    <a:pt x="109" y="1055"/>
                  </a:lnTo>
                  <a:lnTo>
                    <a:pt x="106" y="1056"/>
                  </a:lnTo>
                  <a:lnTo>
                    <a:pt x="103" y="1057"/>
                  </a:lnTo>
                  <a:lnTo>
                    <a:pt x="98" y="1057"/>
                  </a:lnTo>
                  <a:lnTo>
                    <a:pt x="94" y="1057"/>
                  </a:lnTo>
                  <a:lnTo>
                    <a:pt x="89" y="1056"/>
                  </a:lnTo>
                  <a:lnTo>
                    <a:pt x="85" y="1054"/>
                  </a:lnTo>
                  <a:lnTo>
                    <a:pt x="79" y="1050"/>
                  </a:lnTo>
                  <a:lnTo>
                    <a:pt x="73" y="1046"/>
                  </a:lnTo>
                  <a:lnTo>
                    <a:pt x="73" y="1046"/>
                  </a:lnTo>
                  <a:lnTo>
                    <a:pt x="71" y="1045"/>
                  </a:lnTo>
                  <a:lnTo>
                    <a:pt x="68" y="1045"/>
                  </a:lnTo>
                  <a:lnTo>
                    <a:pt x="64" y="1042"/>
                  </a:lnTo>
                  <a:lnTo>
                    <a:pt x="60" y="1039"/>
                  </a:lnTo>
                  <a:lnTo>
                    <a:pt x="57" y="1037"/>
                  </a:lnTo>
                  <a:lnTo>
                    <a:pt x="53" y="1034"/>
                  </a:lnTo>
                  <a:lnTo>
                    <a:pt x="50" y="1030"/>
                  </a:lnTo>
                  <a:lnTo>
                    <a:pt x="49" y="1030"/>
                  </a:lnTo>
                  <a:lnTo>
                    <a:pt x="49" y="1030"/>
                  </a:lnTo>
                  <a:lnTo>
                    <a:pt x="48" y="1029"/>
                  </a:lnTo>
                  <a:lnTo>
                    <a:pt x="49" y="1029"/>
                  </a:lnTo>
                  <a:lnTo>
                    <a:pt x="49" y="1029"/>
                  </a:lnTo>
                  <a:lnTo>
                    <a:pt x="48" y="1029"/>
                  </a:lnTo>
                  <a:lnTo>
                    <a:pt x="48" y="1028"/>
                  </a:lnTo>
                  <a:lnTo>
                    <a:pt x="41" y="1016"/>
                  </a:lnTo>
                  <a:lnTo>
                    <a:pt x="42" y="1016"/>
                  </a:lnTo>
                  <a:lnTo>
                    <a:pt x="44" y="1019"/>
                  </a:lnTo>
                  <a:lnTo>
                    <a:pt x="41" y="1015"/>
                  </a:lnTo>
                  <a:lnTo>
                    <a:pt x="39" y="1010"/>
                  </a:lnTo>
                  <a:lnTo>
                    <a:pt x="39" y="1007"/>
                  </a:lnTo>
                  <a:lnTo>
                    <a:pt x="37" y="1003"/>
                  </a:lnTo>
                  <a:lnTo>
                    <a:pt x="37" y="998"/>
                  </a:lnTo>
                  <a:lnTo>
                    <a:pt x="36" y="998"/>
                  </a:lnTo>
                  <a:lnTo>
                    <a:pt x="36" y="993"/>
                  </a:lnTo>
                  <a:lnTo>
                    <a:pt x="36" y="989"/>
                  </a:lnTo>
                  <a:lnTo>
                    <a:pt x="35" y="988"/>
                  </a:lnTo>
                  <a:lnTo>
                    <a:pt x="33" y="984"/>
                  </a:lnTo>
                  <a:lnTo>
                    <a:pt x="33" y="984"/>
                  </a:lnTo>
                  <a:lnTo>
                    <a:pt x="32" y="972"/>
                  </a:lnTo>
                  <a:lnTo>
                    <a:pt x="32" y="970"/>
                  </a:lnTo>
                  <a:lnTo>
                    <a:pt x="33" y="966"/>
                  </a:lnTo>
                  <a:lnTo>
                    <a:pt x="33" y="963"/>
                  </a:lnTo>
                  <a:lnTo>
                    <a:pt x="32" y="959"/>
                  </a:lnTo>
                  <a:lnTo>
                    <a:pt x="32" y="957"/>
                  </a:lnTo>
                  <a:lnTo>
                    <a:pt x="32" y="955"/>
                  </a:lnTo>
                  <a:lnTo>
                    <a:pt x="32" y="966"/>
                  </a:lnTo>
                  <a:lnTo>
                    <a:pt x="30" y="955"/>
                  </a:lnTo>
                  <a:lnTo>
                    <a:pt x="30" y="954"/>
                  </a:lnTo>
                  <a:lnTo>
                    <a:pt x="30" y="950"/>
                  </a:lnTo>
                  <a:lnTo>
                    <a:pt x="27" y="943"/>
                  </a:lnTo>
                  <a:lnTo>
                    <a:pt x="27" y="943"/>
                  </a:lnTo>
                  <a:lnTo>
                    <a:pt x="27" y="941"/>
                  </a:lnTo>
                  <a:lnTo>
                    <a:pt x="26" y="936"/>
                  </a:lnTo>
                  <a:lnTo>
                    <a:pt x="24" y="930"/>
                  </a:lnTo>
                  <a:lnTo>
                    <a:pt x="24" y="926"/>
                  </a:lnTo>
                  <a:lnTo>
                    <a:pt x="23" y="922"/>
                  </a:lnTo>
                  <a:lnTo>
                    <a:pt x="23" y="917"/>
                  </a:lnTo>
                  <a:lnTo>
                    <a:pt x="23" y="913"/>
                  </a:lnTo>
                  <a:lnTo>
                    <a:pt x="24" y="909"/>
                  </a:lnTo>
                  <a:lnTo>
                    <a:pt x="26" y="905"/>
                  </a:lnTo>
                  <a:lnTo>
                    <a:pt x="28" y="903"/>
                  </a:lnTo>
                  <a:lnTo>
                    <a:pt x="33" y="900"/>
                  </a:lnTo>
                  <a:lnTo>
                    <a:pt x="39" y="897"/>
                  </a:lnTo>
                  <a:lnTo>
                    <a:pt x="44" y="896"/>
                  </a:lnTo>
                  <a:lnTo>
                    <a:pt x="50" y="895"/>
                  </a:lnTo>
                  <a:lnTo>
                    <a:pt x="55" y="895"/>
                  </a:lnTo>
                  <a:lnTo>
                    <a:pt x="60" y="896"/>
                  </a:lnTo>
                  <a:lnTo>
                    <a:pt x="64" y="896"/>
                  </a:lnTo>
                  <a:lnTo>
                    <a:pt x="69" y="897"/>
                  </a:lnTo>
                  <a:lnTo>
                    <a:pt x="69" y="897"/>
                  </a:lnTo>
                  <a:lnTo>
                    <a:pt x="79" y="892"/>
                  </a:lnTo>
                  <a:lnTo>
                    <a:pt x="90" y="886"/>
                  </a:lnTo>
                  <a:lnTo>
                    <a:pt x="99" y="881"/>
                  </a:lnTo>
                  <a:lnTo>
                    <a:pt x="107" y="874"/>
                  </a:lnTo>
                  <a:lnTo>
                    <a:pt x="115" y="866"/>
                  </a:lnTo>
                  <a:lnTo>
                    <a:pt x="122" y="859"/>
                  </a:lnTo>
                  <a:lnTo>
                    <a:pt x="137" y="837"/>
                  </a:lnTo>
                  <a:lnTo>
                    <a:pt x="151" y="815"/>
                  </a:lnTo>
                  <a:lnTo>
                    <a:pt x="157" y="807"/>
                  </a:lnTo>
                  <a:lnTo>
                    <a:pt x="164" y="801"/>
                  </a:lnTo>
                  <a:lnTo>
                    <a:pt x="171" y="795"/>
                  </a:lnTo>
                  <a:lnTo>
                    <a:pt x="192" y="781"/>
                  </a:lnTo>
                  <a:lnTo>
                    <a:pt x="213" y="770"/>
                  </a:lnTo>
                  <a:lnTo>
                    <a:pt x="229" y="759"/>
                  </a:lnTo>
                  <a:lnTo>
                    <a:pt x="234" y="755"/>
                  </a:lnTo>
                  <a:lnTo>
                    <a:pt x="234" y="754"/>
                  </a:lnTo>
                  <a:lnTo>
                    <a:pt x="236" y="751"/>
                  </a:lnTo>
                  <a:lnTo>
                    <a:pt x="238" y="746"/>
                  </a:lnTo>
                  <a:lnTo>
                    <a:pt x="242" y="740"/>
                  </a:lnTo>
                  <a:lnTo>
                    <a:pt x="242" y="735"/>
                  </a:lnTo>
                  <a:lnTo>
                    <a:pt x="244" y="728"/>
                  </a:lnTo>
                  <a:lnTo>
                    <a:pt x="246" y="718"/>
                  </a:lnTo>
                  <a:lnTo>
                    <a:pt x="246" y="713"/>
                  </a:lnTo>
                  <a:lnTo>
                    <a:pt x="249" y="704"/>
                  </a:lnTo>
                  <a:lnTo>
                    <a:pt x="250" y="698"/>
                  </a:lnTo>
                  <a:lnTo>
                    <a:pt x="247" y="702"/>
                  </a:lnTo>
                  <a:lnTo>
                    <a:pt x="246" y="706"/>
                  </a:lnTo>
                  <a:lnTo>
                    <a:pt x="245" y="709"/>
                  </a:lnTo>
                  <a:lnTo>
                    <a:pt x="245" y="710"/>
                  </a:lnTo>
                  <a:lnTo>
                    <a:pt x="244" y="711"/>
                  </a:lnTo>
                  <a:lnTo>
                    <a:pt x="244" y="710"/>
                  </a:lnTo>
                  <a:lnTo>
                    <a:pt x="245" y="709"/>
                  </a:lnTo>
                  <a:lnTo>
                    <a:pt x="245" y="706"/>
                  </a:lnTo>
                  <a:lnTo>
                    <a:pt x="246" y="702"/>
                  </a:lnTo>
                  <a:lnTo>
                    <a:pt x="247" y="696"/>
                  </a:lnTo>
                  <a:lnTo>
                    <a:pt x="247" y="688"/>
                  </a:lnTo>
                  <a:lnTo>
                    <a:pt x="246" y="687"/>
                  </a:lnTo>
                  <a:lnTo>
                    <a:pt x="245" y="692"/>
                  </a:lnTo>
                  <a:lnTo>
                    <a:pt x="244" y="697"/>
                  </a:lnTo>
                  <a:lnTo>
                    <a:pt x="244" y="700"/>
                  </a:lnTo>
                  <a:lnTo>
                    <a:pt x="244" y="704"/>
                  </a:lnTo>
                  <a:lnTo>
                    <a:pt x="244" y="705"/>
                  </a:lnTo>
                  <a:lnTo>
                    <a:pt x="245" y="708"/>
                  </a:lnTo>
                  <a:lnTo>
                    <a:pt x="245" y="709"/>
                  </a:lnTo>
                  <a:lnTo>
                    <a:pt x="244" y="708"/>
                  </a:lnTo>
                  <a:lnTo>
                    <a:pt x="244" y="705"/>
                  </a:lnTo>
                  <a:lnTo>
                    <a:pt x="242" y="704"/>
                  </a:lnTo>
                  <a:lnTo>
                    <a:pt x="242" y="701"/>
                  </a:lnTo>
                  <a:lnTo>
                    <a:pt x="241" y="706"/>
                  </a:lnTo>
                  <a:lnTo>
                    <a:pt x="240" y="710"/>
                  </a:lnTo>
                  <a:lnTo>
                    <a:pt x="238" y="714"/>
                  </a:lnTo>
                  <a:lnTo>
                    <a:pt x="237" y="715"/>
                  </a:lnTo>
                  <a:lnTo>
                    <a:pt x="237" y="717"/>
                  </a:lnTo>
                  <a:lnTo>
                    <a:pt x="237" y="713"/>
                  </a:lnTo>
                  <a:lnTo>
                    <a:pt x="238" y="705"/>
                  </a:lnTo>
                  <a:lnTo>
                    <a:pt x="240" y="693"/>
                  </a:lnTo>
                  <a:lnTo>
                    <a:pt x="241" y="691"/>
                  </a:lnTo>
                  <a:lnTo>
                    <a:pt x="241" y="688"/>
                  </a:lnTo>
                  <a:lnTo>
                    <a:pt x="240" y="689"/>
                  </a:lnTo>
                  <a:lnTo>
                    <a:pt x="240" y="695"/>
                  </a:lnTo>
                  <a:lnTo>
                    <a:pt x="238" y="698"/>
                  </a:lnTo>
                  <a:lnTo>
                    <a:pt x="237" y="704"/>
                  </a:lnTo>
                  <a:lnTo>
                    <a:pt x="236" y="706"/>
                  </a:lnTo>
                  <a:lnTo>
                    <a:pt x="236" y="709"/>
                  </a:lnTo>
                  <a:lnTo>
                    <a:pt x="236" y="709"/>
                  </a:lnTo>
                  <a:lnTo>
                    <a:pt x="234" y="706"/>
                  </a:lnTo>
                  <a:lnTo>
                    <a:pt x="234" y="698"/>
                  </a:lnTo>
                  <a:lnTo>
                    <a:pt x="236" y="688"/>
                  </a:lnTo>
                  <a:lnTo>
                    <a:pt x="237" y="686"/>
                  </a:lnTo>
                  <a:lnTo>
                    <a:pt x="237" y="683"/>
                  </a:lnTo>
                  <a:lnTo>
                    <a:pt x="236" y="679"/>
                  </a:lnTo>
                  <a:lnTo>
                    <a:pt x="236" y="674"/>
                  </a:lnTo>
                  <a:lnTo>
                    <a:pt x="236" y="670"/>
                  </a:lnTo>
                  <a:lnTo>
                    <a:pt x="236" y="671"/>
                  </a:lnTo>
                  <a:lnTo>
                    <a:pt x="236" y="671"/>
                  </a:lnTo>
                  <a:lnTo>
                    <a:pt x="236" y="671"/>
                  </a:lnTo>
                  <a:lnTo>
                    <a:pt x="236" y="675"/>
                  </a:lnTo>
                  <a:lnTo>
                    <a:pt x="234" y="679"/>
                  </a:lnTo>
                  <a:lnTo>
                    <a:pt x="234" y="683"/>
                  </a:lnTo>
                  <a:lnTo>
                    <a:pt x="234" y="684"/>
                  </a:lnTo>
                  <a:lnTo>
                    <a:pt x="234" y="686"/>
                  </a:lnTo>
                  <a:lnTo>
                    <a:pt x="234" y="684"/>
                  </a:lnTo>
                  <a:lnTo>
                    <a:pt x="234" y="683"/>
                  </a:lnTo>
                  <a:lnTo>
                    <a:pt x="233" y="679"/>
                  </a:lnTo>
                  <a:lnTo>
                    <a:pt x="233" y="675"/>
                  </a:lnTo>
                  <a:lnTo>
                    <a:pt x="233" y="670"/>
                  </a:lnTo>
                  <a:lnTo>
                    <a:pt x="233" y="670"/>
                  </a:lnTo>
                  <a:lnTo>
                    <a:pt x="232" y="669"/>
                  </a:lnTo>
                  <a:lnTo>
                    <a:pt x="231" y="675"/>
                  </a:lnTo>
                  <a:lnTo>
                    <a:pt x="231" y="680"/>
                  </a:lnTo>
                  <a:lnTo>
                    <a:pt x="228" y="687"/>
                  </a:lnTo>
                  <a:lnTo>
                    <a:pt x="227" y="693"/>
                  </a:lnTo>
                  <a:lnTo>
                    <a:pt x="225" y="696"/>
                  </a:lnTo>
                  <a:lnTo>
                    <a:pt x="225" y="698"/>
                  </a:lnTo>
                  <a:lnTo>
                    <a:pt x="224" y="700"/>
                  </a:lnTo>
                  <a:lnTo>
                    <a:pt x="224" y="700"/>
                  </a:lnTo>
                  <a:lnTo>
                    <a:pt x="224" y="700"/>
                  </a:lnTo>
                  <a:lnTo>
                    <a:pt x="224" y="696"/>
                  </a:lnTo>
                  <a:lnTo>
                    <a:pt x="225" y="692"/>
                  </a:lnTo>
                  <a:lnTo>
                    <a:pt x="225" y="687"/>
                  </a:lnTo>
                  <a:lnTo>
                    <a:pt x="225" y="680"/>
                  </a:lnTo>
                  <a:lnTo>
                    <a:pt x="227" y="674"/>
                  </a:lnTo>
                  <a:lnTo>
                    <a:pt x="228" y="664"/>
                  </a:lnTo>
                  <a:lnTo>
                    <a:pt x="228" y="664"/>
                  </a:lnTo>
                  <a:lnTo>
                    <a:pt x="227" y="669"/>
                  </a:lnTo>
                  <a:lnTo>
                    <a:pt x="227" y="673"/>
                  </a:lnTo>
                  <a:lnTo>
                    <a:pt x="225" y="677"/>
                  </a:lnTo>
                  <a:lnTo>
                    <a:pt x="225" y="679"/>
                  </a:lnTo>
                  <a:lnTo>
                    <a:pt x="224" y="680"/>
                  </a:lnTo>
                  <a:lnTo>
                    <a:pt x="224" y="677"/>
                  </a:lnTo>
                  <a:lnTo>
                    <a:pt x="224" y="669"/>
                  </a:lnTo>
                  <a:lnTo>
                    <a:pt x="224" y="658"/>
                  </a:lnTo>
                  <a:lnTo>
                    <a:pt x="224" y="655"/>
                  </a:lnTo>
                  <a:lnTo>
                    <a:pt x="224" y="655"/>
                  </a:lnTo>
                  <a:lnTo>
                    <a:pt x="224" y="657"/>
                  </a:lnTo>
                  <a:lnTo>
                    <a:pt x="222" y="667"/>
                  </a:lnTo>
                  <a:lnTo>
                    <a:pt x="222" y="667"/>
                  </a:lnTo>
                  <a:lnTo>
                    <a:pt x="222" y="665"/>
                  </a:lnTo>
                  <a:lnTo>
                    <a:pt x="222" y="662"/>
                  </a:lnTo>
                  <a:lnTo>
                    <a:pt x="222" y="657"/>
                  </a:lnTo>
                  <a:lnTo>
                    <a:pt x="223" y="652"/>
                  </a:lnTo>
                  <a:lnTo>
                    <a:pt x="223" y="646"/>
                  </a:lnTo>
                  <a:lnTo>
                    <a:pt x="223" y="643"/>
                  </a:lnTo>
                  <a:lnTo>
                    <a:pt x="222" y="642"/>
                  </a:lnTo>
                  <a:lnTo>
                    <a:pt x="220" y="653"/>
                  </a:lnTo>
                  <a:lnTo>
                    <a:pt x="218" y="662"/>
                  </a:lnTo>
                  <a:lnTo>
                    <a:pt x="216" y="671"/>
                  </a:lnTo>
                  <a:lnTo>
                    <a:pt x="216" y="671"/>
                  </a:lnTo>
                  <a:lnTo>
                    <a:pt x="216" y="667"/>
                  </a:lnTo>
                  <a:lnTo>
                    <a:pt x="216" y="664"/>
                  </a:lnTo>
                  <a:lnTo>
                    <a:pt x="216" y="664"/>
                  </a:lnTo>
                  <a:lnTo>
                    <a:pt x="215" y="669"/>
                  </a:lnTo>
                  <a:lnTo>
                    <a:pt x="214" y="673"/>
                  </a:lnTo>
                  <a:lnTo>
                    <a:pt x="213" y="675"/>
                  </a:lnTo>
                  <a:lnTo>
                    <a:pt x="211" y="679"/>
                  </a:lnTo>
                  <a:lnTo>
                    <a:pt x="211" y="680"/>
                  </a:lnTo>
                  <a:lnTo>
                    <a:pt x="211" y="680"/>
                  </a:lnTo>
                  <a:lnTo>
                    <a:pt x="211" y="680"/>
                  </a:lnTo>
                  <a:lnTo>
                    <a:pt x="211" y="678"/>
                  </a:lnTo>
                  <a:lnTo>
                    <a:pt x="211" y="674"/>
                  </a:lnTo>
                  <a:lnTo>
                    <a:pt x="210" y="671"/>
                  </a:lnTo>
                  <a:lnTo>
                    <a:pt x="210" y="666"/>
                  </a:lnTo>
                  <a:lnTo>
                    <a:pt x="210" y="661"/>
                  </a:lnTo>
                  <a:lnTo>
                    <a:pt x="211" y="655"/>
                  </a:lnTo>
                  <a:lnTo>
                    <a:pt x="213" y="648"/>
                  </a:lnTo>
                  <a:lnTo>
                    <a:pt x="213" y="642"/>
                  </a:lnTo>
                  <a:lnTo>
                    <a:pt x="214" y="633"/>
                  </a:lnTo>
                  <a:lnTo>
                    <a:pt x="215" y="625"/>
                  </a:lnTo>
                  <a:lnTo>
                    <a:pt x="214" y="624"/>
                  </a:lnTo>
                  <a:lnTo>
                    <a:pt x="211" y="639"/>
                  </a:lnTo>
                  <a:lnTo>
                    <a:pt x="210" y="652"/>
                  </a:lnTo>
                  <a:lnTo>
                    <a:pt x="209" y="661"/>
                  </a:lnTo>
                  <a:lnTo>
                    <a:pt x="209" y="665"/>
                  </a:lnTo>
                  <a:lnTo>
                    <a:pt x="209" y="664"/>
                  </a:lnTo>
                  <a:lnTo>
                    <a:pt x="207" y="660"/>
                  </a:lnTo>
                  <a:lnTo>
                    <a:pt x="207" y="656"/>
                  </a:lnTo>
                  <a:lnTo>
                    <a:pt x="207" y="660"/>
                  </a:lnTo>
                  <a:lnTo>
                    <a:pt x="206" y="664"/>
                  </a:lnTo>
                  <a:lnTo>
                    <a:pt x="205" y="667"/>
                  </a:lnTo>
                  <a:lnTo>
                    <a:pt x="204" y="669"/>
                  </a:lnTo>
                  <a:lnTo>
                    <a:pt x="204" y="670"/>
                  </a:lnTo>
                  <a:lnTo>
                    <a:pt x="204" y="669"/>
                  </a:lnTo>
                  <a:lnTo>
                    <a:pt x="204" y="666"/>
                  </a:lnTo>
                  <a:lnTo>
                    <a:pt x="204" y="664"/>
                  </a:lnTo>
                  <a:lnTo>
                    <a:pt x="204" y="660"/>
                  </a:lnTo>
                  <a:lnTo>
                    <a:pt x="204" y="656"/>
                  </a:lnTo>
                  <a:lnTo>
                    <a:pt x="204" y="656"/>
                  </a:lnTo>
                  <a:lnTo>
                    <a:pt x="204" y="661"/>
                  </a:lnTo>
                  <a:lnTo>
                    <a:pt x="204" y="664"/>
                  </a:lnTo>
                  <a:lnTo>
                    <a:pt x="204" y="665"/>
                  </a:lnTo>
                  <a:lnTo>
                    <a:pt x="204" y="665"/>
                  </a:lnTo>
                  <a:lnTo>
                    <a:pt x="204" y="662"/>
                  </a:lnTo>
                  <a:lnTo>
                    <a:pt x="202" y="661"/>
                  </a:lnTo>
                  <a:lnTo>
                    <a:pt x="202" y="660"/>
                  </a:lnTo>
                  <a:lnTo>
                    <a:pt x="202" y="657"/>
                  </a:lnTo>
                  <a:lnTo>
                    <a:pt x="201" y="658"/>
                  </a:lnTo>
                  <a:lnTo>
                    <a:pt x="200" y="662"/>
                  </a:lnTo>
                  <a:lnTo>
                    <a:pt x="198" y="664"/>
                  </a:lnTo>
                  <a:lnTo>
                    <a:pt x="198" y="665"/>
                  </a:lnTo>
                  <a:lnTo>
                    <a:pt x="201" y="644"/>
                  </a:lnTo>
                  <a:lnTo>
                    <a:pt x="201" y="637"/>
                  </a:lnTo>
                  <a:lnTo>
                    <a:pt x="202" y="631"/>
                  </a:lnTo>
                  <a:lnTo>
                    <a:pt x="202" y="630"/>
                  </a:lnTo>
                  <a:lnTo>
                    <a:pt x="198" y="649"/>
                  </a:lnTo>
                  <a:lnTo>
                    <a:pt x="198" y="649"/>
                  </a:lnTo>
                  <a:lnTo>
                    <a:pt x="198" y="648"/>
                  </a:lnTo>
                  <a:lnTo>
                    <a:pt x="198" y="644"/>
                  </a:lnTo>
                  <a:lnTo>
                    <a:pt x="197" y="644"/>
                  </a:lnTo>
                  <a:lnTo>
                    <a:pt x="196" y="643"/>
                  </a:lnTo>
                  <a:lnTo>
                    <a:pt x="193" y="640"/>
                  </a:lnTo>
                  <a:lnTo>
                    <a:pt x="193" y="644"/>
                  </a:lnTo>
                  <a:lnTo>
                    <a:pt x="195" y="647"/>
                  </a:lnTo>
                  <a:lnTo>
                    <a:pt x="195" y="651"/>
                  </a:lnTo>
                  <a:lnTo>
                    <a:pt x="195" y="653"/>
                  </a:lnTo>
                  <a:lnTo>
                    <a:pt x="195" y="655"/>
                  </a:lnTo>
                  <a:lnTo>
                    <a:pt x="192" y="648"/>
                  </a:lnTo>
                  <a:lnTo>
                    <a:pt x="191" y="643"/>
                  </a:lnTo>
                  <a:lnTo>
                    <a:pt x="189" y="638"/>
                  </a:lnTo>
                  <a:lnTo>
                    <a:pt x="188" y="642"/>
                  </a:lnTo>
                  <a:lnTo>
                    <a:pt x="188" y="644"/>
                  </a:lnTo>
                  <a:lnTo>
                    <a:pt x="188" y="646"/>
                  </a:lnTo>
                  <a:lnTo>
                    <a:pt x="188" y="644"/>
                  </a:lnTo>
                  <a:lnTo>
                    <a:pt x="188" y="643"/>
                  </a:lnTo>
                  <a:lnTo>
                    <a:pt x="188" y="639"/>
                  </a:lnTo>
                  <a:lnTo>
                    <a:pt x="188" y="642"/>
                  </a:lnTo>
                  <a:lnTo>
                    <a:pt x="188" y="642"/>
                  </a:lnTo>
                  <a:lnTo>
                    <a:pt x="187" y="642"/>
                  </a:lnTo>
                  <a:lnTo>
                    <a:pt x="187" y="644"/>
                  </a:lnTo>
                  <a:lnTo>
                    <a:pt x="187" y="647"/>
                  </a:lnTo>
                  <a:lnTo>
                    <a:pt x="187" y="647"/>
                  </a:lnTo>
                  <a:lnTo>
                    <a:pt x="187" y="647"/>
                  </a:lnTo>
                  <a:lnTo>
                    <a:pt x="187" y="643"/>
                  </a:lnTo>
                  <a:lnTo>
                    <a:pt x="187" y="639"/>
                  </a:lnTo>
                  <a:lnTo>
                    <a:pt x="186" y="638"/>
                  </a:lnTo>
                  <a:lnTo>
                    <a:pt x="184" y="633"/>
                  </a:lnTo>
                  <a:lnTo>
                    <a:pt x="183" y="626"/>
                  </a:lnTo>
                  <a:lnTo>
                    <a:pt x="183" y="624"/>
                  </a:lnTo>
                  <a:lnTo>
                    <a:pt x="182" y="627"/>
                  </a:lnTo>
                  <a:lnTo>
                    <a:pt x="183" y="630"/>
                  </a:lnTo>
                  <a:lnTo>
                    <a:pt x="183" y="631"/>
                  </a:lnTo>
                  <a:lnTo>
                    <a:pt x="183" y="630"/>
                  </a:lnTo>
                  <a:lnTo>
                    <a:pt x="182" y="627"/>
                  </a:lnTo>
                  <a:lnTo>
                    <a:pt x="182" y="629"/>
                  </a:lnTo>
                  <a:lnTo>
                    <a:pt x="182" y="629"/>
                  </a:lnTo>
                  <a:lnTo>
                    <a:pt x="180" y="626"/>
                  </a:lnTo>
                  <a:lnTo>
                    <a:pt x="180" y="624"/>
                  </a:lnTo>
                  <a:lnTo>
                    <a:pt x="180" y="620"/>
                  </a:lnTo>
                  <a:lnTo>
                    <a:pt x="180" y="617"/>
                  </a:lnTo>
                  <a:lnTo>
                    <a:pt x="180" y="617"/>
                  </a:lnTo>
                  <a:lnTo>
                    <a:pt x="180" y="612"/>
                  </a:lnTo>
                  <a:lnTo>
                    <a:pt x="180" y="612"/>
                  </a:lnTo>
                  <a:lnTo>
                    <a:pt x="179" y="616"/>
                  </a:lnTo>
                  <a:lnTo>
                    <a:pt x="179" y="618"/>
                  </a:lnTo>
                  <a:lnTo>
                    <a:pt x="179" y="620"/>
                  </a:lnTo>
                  <a:lnTo>
                    <a:pt x="179" y="618"/>
                  </a:lnTo>
                  <a:lnTo>
                    <a:pt x="179" y="617"/>
                  </a:lnTo>
                  <a:lnTo>
                    <a:pt x="178" y="613"/>
                  </a:lnTo>
                  <a:lnTo>
                    <a:pt x="178" y="609"/>
                  </a:lnTo>
                  <a:lnTo>
                    <a:pt x="178" y="608"/>
                  </a:lnTo>
                  <a:lnTo>
                    <a:pt x="176" y="606"/>
                  </a:lnTo>
                  <a:lnTo>
                    <a:pt x="176" y="611"/>
                  </a:lnTo>
                  <a:lnTo>
                    <a:pt x="176" y="615"/>
                  </a:lnTo>
                  <a:lnTo>
                    <a:pt x="176" y="618"/>
                  </a:lnTo>
                  <a:lnTo>
                    <a:pt x="178" y="620"/>
                  </a:lnTo>
                  <a:lnTo>
                    <a:pt x="178" y="620"/>
                  </a:lnTo>
                  <a:lnTo>
                    <a:pt x="176" y="620"/>
                  </a:lnTo>
                  <a:lnTo>
                    <a:pt x="176" y="618"/>
                  </a:lnTo>
                  <a:lnTo>
                    <a:pt x="176" y="621"/>
                  </a:lnTo>
                  <a:lnTo>
                    <a:pt x="176" y="622"/>
                  </a:lnTo>
                  <a:lnTo>
                    <a:pt x="176" y="624"/>
                  </a:lnTo>
                  <a:lnTo>
                    <a:pt x="176" y="622"/>
                  </a:lnTo>
                  <a:lnTo>
                    <a:pt x="175" y="620"/>
                  </a:lnTo>
                  <a:lnTo>
                    <a:pt x="175" y="616"/>
                  </a:lnTo>
                  <a:lnTo>
                    <a:pt x="175" y="615"/>
                  </a:lnTo>
                  <a:lnTo>
                    <a:pt x="175" y="617"/>
                  </a:lnTo>
                  <a:lnTo>
                    <a:pt x="175" y="621"/>
                  </a:lnTo>
                  <a:lnTo>
                    <a:pt x="175" y="624"/>
                  </a:lnTo>
                  <a:lnTo>
                    <a:pt x="175" y="624"/>
                  </a:lnTo>
                  <a:lnTo>
                    <a:pt x="175" y="624"/>
                  </a:lnTo>
                  <a:lnTo>
                    <a:pt x="174" y="621"/>
                  </a:lnTo>
                  <a:lnTo>
                    <a:pt x="174" y="622"/>
                  </a:lnTo>
                  <a:lnTo>
                    <a:pt x="174" y="622"/>
                  </a:lnTo>
                  <a:lnTo>
                    <a:pt x="174" y="622"/>
                  </a:lnTo>
                  <a:lnTo>
                    <a:pt x="174" y="621"/>
                  </a:lnTo>
                  <a:lnTo>
                    <a:pt x="173" y="618"/>
                  </a:lnTo>
                  <a:lnTo>
                    <a:pt x="171" y="615"/>
                  </a:lnTo>
                  <a:lnTo>
                    <a:pt x="170" y="611"/>
                  </a:lnTo>
                  <a:lnTo>
                    <a:pt x="170" y="616"/>
                  </a:lnTo>
                  <a:lnTo>
                    <a:pt x="170" y="622"/>
                  </a:lnTo>
                  <a:lnTo>
                    <a:pt x="167" y="640"/>
                  </a:lnTo>
                  <a:lnTo>
                    <a:pt x="166" y="622"/>
                  </a:lnTo>
                  <a:lnTo>
                    <a:pt x="166" y="611"/>
                  </a:lnTo>
                  <a:lnTo>
                    <a:pt x="164" y="608"/>
                  </a:lnTo>
                  <a:lnTo>
                    <a:pt x="165" y="612"/>
                  </a:lnTo>
                  <a:lnTo>
                    <a:pt x="165" y="615"/>
                  </a:lnTo>
                  <a:lnTo>
                    <a:pt x="165" y="617"/>
                  </a:lnTo>
                  <a:lnTo>
                    <a:pt x="165" y="617"/>
                  </a:lnTo>
                  <a:lnTo>
                    <a:pt x="165" y="617"/>
                  </a:lnTo>
                  <a:lnTo>
                    <a:pt x="164" y="616"/>
                  </a:lnTo>
                  <a:lnTo>
                    <a:pt x="164" y="618"/>
                  </a:lnTo>
                  <a:lnTo>
                    <a:pt x="164" y="618"/>
                  </a:lnTo>
                  <a:lnTo>
                    <a:pt x="164" y="618"/>
                  </a:lnTo>
                  <a:lnTo>
                    <a:pt x="164" y="616"/>
                  </a:lnTo>
                  <a:lnTo>
                    <a:pt x="162" y="613"/>
                  </a:lnTo>
                  <a:lnTo>
                    <a:pt x="162" y="612"/>
                  </a:lnTo>
                  <a:lnTo>
                    <a:pt x="162" y="615"/>
                  </a:lnTo>
                  <a:lnTo>
                    <a:pt x="162" y="616"/>
                  </a:lnTo>
                  <a:lnTo>
                    <a:pt x="162" y="615"/>
                  </a:lnTo>
                  <a:lnTo>
                    <a:pt x="162" y="613"/>
                  </a:lnTo>
                  <a:lnTo>
                    <a:pt x="161" y="611"/>
                  </a:lnTo>
                  <a:lnTo>
                    <a:pt x="161" y="607"/>
                  </a:lnTo>
                  <a:lnTo>
                    <a:pt x="160" y="602"/>
                  </a:lnTo>
                  <a:lnTo>
                    <a:pt x="158" y="600"/>
                  </a:lnTo>
                  <a:lnTo>
                    <a:pt x="156" y="598"/>
                  </a:lnTo>
                  <a:lnTo>
                    <a:pt x="156" y="602"/>
                  </a:lnTo>
                  <a:lnTo>
                    <a:pt x="156" y="603"/>
                  </a:lnTo>
                  <a:lnTo>
                    <a:pt x="156" y="604"/>
                  </a:lnTo>
                  <a:lnTo>
                    <a:pt x="156" y="603"/>
                  </a:lnTo>
                  <a:lnTo>
                    <a:pt x="156" y="600"/>
                  </a:lnTo>
                  <a:lnTo>
                    <a:pt x="156" y="596"/>
                  </a:lnTo>
                  <a:lnTo>
                    <a:pt x="152" y="590"/>
                  </a:lnTo>
                  <a:lnTo>
                    <a:pt x="152" y="599"/>
                  </a:lnTo>
                  <a:lnTo>
                    <a:pt x="153" y="603"/>
                  </a:lnTo>
                  <a:lnTo>
                    <a:pt x="153" y="606"/>
                  </a:lnTo>
                  <a:lnTo>
                    <a:pt x="153" y="606"/>
                  </a:lnTo>
                  <a:lnTo>
                    <a:pt x="152" y="606"/>
                  </a:lnTo>
                  <a:lnTo>
                    <a:pt x="152" y="603"/>
                  </a:lnTo>
                  <a:lnTo>
                    <a:pt x="151" y="600"/>
                  </a:lnTo>
                  <a:lnTo>
                    <a:pt x="149" y="596"/>
                  </a:lnTo>
                  <a:lnTo>
                    <a:pt x="148" y="591"/>
                  </a:lnTo>
                  <a:lnTo>
                    <a:pt x="147" y="585"/>
                  </a:lnTo>
                  <a:lnTo>
                    <a:pt x="147" y="585"/>
                  </a:lnTo>
                  <a:lnTo>
                    <a:pt x="146" y="584"/>
                  </a:lnTo>
                  <a:lnTo>
                    <a:pt x="147" y="586"/>
                  </a:lnTo>
                  <a:lnTo>
                    <a:pt x="147" y="589"/>
                  </a:lnTo>
                  <a:lnTo>
                    <a:pt x="147" y="590"/>
                  </a:lnTo>
                  <a:lnTo>
                    <a:pt x="147" y="589"/>
                  </a:lnTo>
                  <a:lnTo>
                    <a:pt x="146" y="587"/>
                  </a:lnTo>
                  <a:lnTo>
                    <a:pt x="144" y="584"/>
                  </a:lnTo>
                  <a:lnTo>
                    <a:pt x="144" y="584"/>
                  </a:lnTo>
                  <a:lnTo>
                    <a:pt x="143" y="595"/>
                  </a:lnTo>
                  <a:lnTo>
                    <a:pt x="131" y="567"/>
                  </a:lnTo>
                  <a:lnTo>
                    <a:pt x="130" y="563"/>
                  </a:lnTo>
                  <a:lnTo>
                    <a:pt x="127" y="559"/>
                  </a:lnTo>
                  <a:lnTo>
                    <a:pt x="126" y="563"/>
                  </a:lnTo>
                  <a:lnTo>
                    <a:pt x="126" y="567"/>
                  </a:lnTo>
                  <a:lnTo>
                    <a:pt x="124" y="564"/>
                  </a:lnTo>
                  <a:lnTo>
                    <a:pt x="121" y="562"/>
                  </a:lnTo>
                  <a:lnTo>
                    <a:pt x="121" y="564"/>
                  </a:lnTo>
                  <a:lnTo>
                    <a:pt x="121" y="567"/>
                  </a:lnTo>
                  <a:lnTo>
                    <a:pt x="122" y="568"/>
                  </a:lnTo>
                  <a:lnTo>
                    <a:pt x="124" y="568"/>
                  </a:lnTo>
                  <a:lnTo>
                    <a:pt x="125" y="568"/>
                  </a:lnTo>
                  <a:lnTo>
                    <a:pt x="126" y="567"/>
                  </a:lnTo>
                  <a:lnTo>
                    <a:pt x="125" y="568"/>
                  </a:lnTo>
                  <a:lnTo>
                    <a:pt x="124" y="568"/>
                  </a:lnTo>
                  <a:lnTo>
                    <a:pt x="122" y="568"/>
                  </a:lnTo>
                  <a:lnTo>
                    <a:pt x="121" y="567"/>
                  </a:lnTo>
                  <a:lnTo>
                    <a:pt x="120" y="564"/>
                  </a:lnTo>
                  <a:lnTo>
                    <a:pt x="118" y="559"/>
                  </a:lnTo>
                  <a:lnTo>
                    <a:pt x="115" y="547"/>
                  </a:lnTo>
                  <a:lnTo>
                    <a:pt x="112" y="534"/>
                  </a:lnTo>
                  <a:lnTo>
                    <a:pt x="111" y="519"/>
                  </a:lnTo>
                  <a:lnTo>
                    <a:pt x="112" y="503"/>
                  </a:lnTo>
                  <a:lnTo>
                    <a:pt x="112" y="498"/>
                  </a:lnTo>
                  <a:lnTo>
                    <a:pt x="111" y="496"/>
                  </a:lnTo>
                  <a:lnTo>
                    <a:pt x="111" y="491"/>
                  </a:lnTo>
                  <a:lnTo>
                    <a:pt x="109" y="485"/>
                  </a:lnTo>
                  <a:lnTo>
                    <a:pt x="111" y="480"/>
                  </a:lnTo>
                  <a:lnTo>
                    <a:pt x="111" y="471"/>
                  </a:lnTo>
                  <a:lnTo>
                    <a:pt x="111" y="463"/>
                  </a:lnTo>
                  <a:lnTo>
                    <a:pt x="113" y="439"/>
                  </a:lnTo>
                  <a:lnTo>
                    <a:pt x="117" y="414"/>
                  </a:lnTo>
                  <a:lnTo>
                    <a:pt x="116" y="418"/>
                  </a:lnTo>
                  <a:lnTo>
                    <a:pt x="115" y="421"/>
                  </a:lnTo>
                  <a:lnTo>
                    <a:pt x="113" y="423"/>
                  </a:lnTo>
                  <a:lnTo>
                    <a:pt x="113" y="423"/>
                  </a:lnTo>
                  <a:lnTo>
                    <a:pt x="113" y="422"/>
                  </a:lnTo>
                  <a:lnTo>
                    <a:pt x="115" y="421"/>
                  </a:lnTo>
                  <a:lnTo>
                    <a:pt x="115" y="417"/>
                  </a:lnTo>
                  <a:lnTo>
                    <a:pt x="116" y="412"/>
                  </a:lnTo>
                  <a:lnTo>
                    <a:pt x="113" y="418"/>
                  </a:lnTo>
                  <a:lnTo>
                    <a:pt x="111" y="423"/>
                  </a:lnTo>
                  <a:lnTo>
                    <a:pt x="111" y="425"/>
                  </a:lnTo>
                  <a:lnTo>
                    <a:pt x="109" y="426"/>
                  </a:lnTo>
                  <a:lnTo>
                    <a:pt x="109" y="426"/>
                  </a:lnTo>
                  <a:lnTo>
                    <a:pt x="109" y="427"/>
                  </a:lnTo>
                  <a:lnTo>
                    <a:pt x="108" y="432"/>
                  </a:lnTo>
                  <a:lnTo>
                    <a:pt x="107" y="435"/>
                  </a:lnTo>
                  <a:lnTo>
                    <a:pt x="107" y="439"/>
                  </a:lnTo>
                  <a:lnTo>
                    <a:pt x="107" y="440"/>
                  </a:lnTo>
                  <a:lnTo>
                    <a:pt x="107" y="442"/>
                  </a:lnTo>
                  <a:lnTo>
                    <a:pt x="107" y="443"/>
                  </a:lnTo>
                  <a:lnTo>
                    <a:pt x="107" y="442"/>
                  </a:lnTo>
                  <a:lnTo>
                    <a:pt x="106" y="440"/>
                  </a:lnTo>
                  <a:lnTo>
                    <a:pt x="106" y="439"/>
                  </a:lnTo>
                  <a:lnTo>
                    <a:pt x="106" y="435"/>
                  </a:lnTo>
                  <a:lnTo>
                    <a:pt x="106" y="431"/>
                  </a:lnTo>
                  <a:lnTo>
                    <a:pt x="107" y="427"/>
                  </a:lnTo>
                  <a:lnTo>
                    <a:pt x="109" y="421"/>
                  </a:lnTo>
                  <a:lnTo>
                    <a:pt x="109" y="418"/>
                  </a:lnTo>
                  <a:lnTo>
                    <a:pt x="108" y="420"/>
                  </a:lnTo>
                  <a:lnTo>
                    <a:pt x="108" y="421"/>
                  </a:lnTo>
                  <a:lnTo>
                    <a:pt x="108" y="420"/>
                  </a:lnTo>
                  <a:lnTo>
                    <a:pt x="108" y="418"/>
                  </a:lnTo>
                  <a:lnTo>
                    <a:pt x="108" y="421"/>
                  </a:lnTo>
                  <a:lnTo>
                    <a:pt x="109" y="399"/>
                  </a:lnTo>
                  <a:lnTo>
                    <a:pt x="108" y="401"/>
                  </a:lnTo>
                  <a:lnTo>
                    <a:pt x="106" y="416"/>
                  </a:lnTo>
                  <a:lnTo>
                    <a:pt x="103" y="429"/>
                  </a:lnTo>
                  <a:lnTo>
                    <a:pt x="99" y="418"/>
                  </a:lnTo>
                  <a:lnTo>
                    <a:pt x="97" y="407"/>
                  </a:lnTo>
                  <a:lnTo>
                    <a:pt x="95" y="429"/>
                  </a:lnTo>
                  <a:lnTo>
                    <a:pt x="95" y="443"/>
                  </a:lnTo>
                  <a:lnTo>
                    <a:pt x="95" y="434"/>
                  </a:lnTo>
                  <a:lnTo>
                    <a:pt x="93" y="444"/>
                  </a:lnTo>
                  <a:lnTo>
                    <a:pt x="90" y="435"/>
                  </a:lnTo>
                  <a:lnTo>
                    <a:pt x="89" y="444"/>
                  </a:lnTo>
                  <a:lnTo>
                    <a:pt x="89" y="457"/>
                  </a:lnTo>
                  <a:lnTo>
                    <a:pt x="86" y="470"/>
                  </a:lnTo>
                  <a:lnTo>
                    <a:pt x="82" y="457"/>
                  </a:lnTo>
                  <a:lnTo>
                    <a:pt x="81" y="462"/>
                  </a:lnTo>
                  <a:lnTo>
                    <a:pt x="81" y="469"/>
                  </a:lnTo>
                  <a:lnTo>
                    <a:pt x="82" y="482"/>
                  </a:lnTo>
                  <a:lnTo>
                    <a:pt x="81" y="492"/>
                  </a:lnTo>
                  <a:lnTo>
                    <a:pt x="77" y="483"/>
                  </a:lnTo>
                  <a:lnTo>
                    <a:pt x="71" y="500"/>
                  </a:lnTo>
                  <a:lnTo>
                    <a:pt x="64" y="516"/>
                  </a:lnTo>
                  <a:lnTo>
                    <a:pt x="69" y="528"/>
                  </a:lnTo>
                  <a:lnTo>
                    <a:pt x="73" y="542"/>
                  </a:lnTo>
                  <a:lnTo>
                    <a:pt x="77" y="555"/>
                  </a:lnTo>
                  <a:lnTo>
                    <a:pt x="79" y="568"/>
                  </a:lnTo>
                  <a:lnTo>
                    <a:pt x="79" y="580"/>
                  </a:lnTo>
                  <a:lnTo>
                    <a:pt x="79" y="589"/>
                  </a:lnTo>
                  <a:lnTo>
                    <a:pt x="80" y="593"/>
                  </a:lnTo>
                  <a:lnTo>
                    <a:pt x="80" y="596"/>
                  </a:lnTo>
                  <a:lnTo>
                    <a:pt x="80" y="600"/>
                  </a:lnTo>
                  <a:lnTo>
                    <a:pt x="80" y="603"/>
                  </a:lnTo>
                  <a:lnTo>
                    <a:pt x="80" y="603"/>
                  </a:lnTo>
                  <a:lnTo>
                    <a:pt x="80" y="607"/>
                  </a:lnTo>
                  <a:lnTo>
                    <a:pt x="80" y="609"/>
                  </a:lnTo>
                  <a:lnTo>
                    <a:pt x="79" y="611"/>
                  </a:lnTo>
                  <a:lnTo>
                    <a:pt x="77" y="611"/>
                  </a:lnTo>
                  <a:lnTo>
                    <a:pt x="75" y="611"/>
                  </a:lnTo>
                  <a:lnTo>
                    <a:pt x="73" y="609"/>
                  </a:lnTo>
                  <a:lnTo>
                    <a:pt x="71" y="607"/>
                  </a:lnTo>
                  <a:lnTo>
                    <a:pt x="68" y="606"/>
                  </a:lnTo>
                  <a:lnTo>
                    <a:pt x="67" y="603"/>
                  </a:lnTo>
                  <a:lnTo>
                    <a:pt x="66" y="600"/>
                  </a:lnTo>
                  <a:lnTo>
                    <a:pt x="64" y="598"/>
                  </a:lnTo>
                  <a:lnTo>
                    <a:pt x="64" y="595"/>
                  </a:lnTo>
                  <a:lnTo>
                    <a:pt x="64" y="591"/>
                  </a:lnTo>
                  <a:lnTo>
                    <a:pt x="66" y="586"/>
                  </a:lnTo>
                  <a:lnTo>
                    <a:pt x="66" y="582"/>
                  </a:lnTo>
                  <a:lnTo>
                    <a:pt x="66" y="582"/>
                  </a:lnTo>
                  <a:lnTo>
                    <a:pt x="66" y="578"/>
                  </a:lnTo>
                  <a:lnTo>
                    <a:pt x="66" y="573"/>
                  </a:lnTo>
                  <a:lnTo>
                    <a:pt x="66" y="573"/>
                  </a:lnTo>
                  <a:lnTo>
                    <a:pt x="66" y="577"/>
                  </a:lnTo>
                  <a:lnTo>
                    <a:pt x="66" y="582"/>
                  </a:lnTo>
                  <a:lnTo>
                    <a:pt x="60" y="575"/>
                  </a:lnTo>
                  <a:lnTo>
                    <a:pt x="58" y="577"/>
                  </a:lnTo>
                  <a:lnTo>
                    <a:pt x="57" y="581"/>
                  </a:lnTo>
                  <a:lnTo>
                    <a:pt x="54" y="586"/>
                  </a:lnTo>
                  <a:lnTo>
                    <a:pt x="54" y="590"/>
                  </a:lnTo>
                  <a:lnTo>
                    <a:pt x="58" y="620"/>
                  </a:lnTo>
                  <a:lnTo>
                    <a:pt x="59" y="624"/>
                  </a:lnTo>
                  <a:lnTo>
                    <a:pt x="63" y="625"/>
                  </a:lnTo>
                  <a:lnTo>
                    <a:pt x="67" y="625"/>
                  </a:lnTo>
                  <a:lnTo>
                    <a:pt x="71" y="626"/>
                  </a:lnTo>
                  <a:lnTo>
                    <a:pt x="73" y="627"/>
                  </a:lnTo>
                  <a:lnTo>
                    <a:pt x="75" y="629"/>
                  </a:lnTo>
                  <a:lnTo>
                    <a:pt x="76" y="631"/>
                  </a:lnTo>
                  <a:lnTo>
                    <a:pt x="77" y="635"/>
                  </a:lnTo>
                  <a:lnTo>
                    <a:pt x="76" y="639"/>
                  </a:lnTo>
                  <a:lnTo>
                    <a:pt x="75" y="639"/>
                  </a:lnTo>
                  <a:lnTo>
                    <a:pt x="73" y="639"/>
                  </a:lnTo>
                  <a:lnTo>
                    <a:pt x="73" y="639"/>
                  </a:lnTo>
                  <a:lnTo>
                    <a:pt x="62" y="643"/>
                  </a:lnTo>
                  <a:lnTo>
                    <a:pt x="51" y="643"/>
                  </a:lnTo>
                  <a:lnTo>
                    <a:pt x="42" y="639"/>
                  </a:lnTo>
                  <a:lnTo>
                    <a:pt x="35" y="633"/>
                  </a:lnTo>
                  <a:lnTo>
                    <a:pt x="28" y="630"/>
                  </a:lnTo>
                  <a:lnTo>
                    <a:pt x="24" y="627"/>
                  </a:lnTo>
                  <a:lnTo>
                    <a:pt x="21" y="629"/>
                  </a:lnTo>
                  <a:lnTo>
                    <a:pt x="21" y="624"/>
                  </a:lnTo>
                  <a:lnTo>
                    <a:pt x="15" y="613"/>
                  </a:lnTo>
                  <a:lnTo>
                    <a:pt x="10" y="602"/>
                  </a:lnTo>
                  <a:lnTo>
                    <a:pt x="6" y="589"/>
                  </a:lnTo>
                  <a:lnTo>
                    <a:pt x="2" y="578"/>
                  </a:lnTo>
                  <a:lnTo>
                    <a:pt x="0" y="568"/>
                  </a:lnTo>
                  <a:lnTo>
                    <a:pt x="0" y="558"/>
                  </a:lnTo>
                  <a:lnTo>
                    <a:pt x="1" y="551"/>
                  </a:lnTo>
                  <a:lnTo>
                    <a:pt x="5" y="545"/>
                  </a:lnTo>
                  <a:lnTo>
                    <a:pt x="9" y="538"/>
                  </a:lnTo>
                  <a:lnTo>
                    <a:pt x="10" y="528"/>
                  </a:lnTo>
                  <a:lnTo>
                    <a:pt x="10" y="484"/>
                  </a:lnTo>
                  <a:lnTo>
                    <a:pt x="11" y="480"/>
                  </a:lnTo>
                  <a:lnTo>
                    <a:pt x="13" y="475"/>
                  </a:lnTo>
                  <a:lnTo>
                    <a:pt x="13" y="470"/>
                  </a:lnTo>
                  <a:lnTo>
                    <a:pt x="11" y="463"/>
                  </a:lnTo>
                  <a:lnTo>
                    <a:pt x="13" y="454"/>
                  </a:lnTo>
                  <a:lnTo>
                    <a:pt x="13" y="427"/>
                  </a:lnTo>
                  <a:lnTo>
                    <a:pt x="15" y="401"/>
                  </a:lnTo>
                  <a:lnTo>
                    <a:pt x="15" y="398"/>
                  </a:lnTo>
                  <a:lnTo>
                    <a:pt x="22" y="342"/>
                  </a:lnTo>
                  <a:lnTo>
                    <a:pt x="26" y="334"/>
                  </a:lnTo>
                  <a:lnTo>
                    <a:pt x="30" y="327"/>
                  </a:lnTo>
                  <a:lnTo>
                    <a:pt x="42" y="303"/>
                  </a:lnTo>
                  <a:lnTo>
                    <a:pt x="48" y="288"/>
                  </a:lnTo>
                  <a:lnTo>
                    <a:pt x="53" y="275"/>
                  </a:lnTo>
                  <a:lnTo>
                    <a:pt x="60" y="266"/>
                  </a:lnTo>
                  <a:lnTo>
                    <a:pt x="60" y="270"/>
                  </a:lnTo>
                  <a:lnTo>
                    <a:pt x="62" y="272"/>
                  </a:lnTo>
                  <a:lnTo>
                    <a:pt x="66" y="262"/>
                  </a:lnTo>
                  <a:lnTo>
                    <a:pt x="71" y="253"/>
                  </a:lnTo>
                  <a:lnTo>
                    <a:pt x="62" y="276"/>
                  </a:lnTo>
                  <a:lnTo>
                    <a:pt x="62" y="279"/>
                  </a:lnTo>
                  <a:lnTo>
                    <a:pt x="62" y="283"/>
                  </a:lnTo>
                  <a:lnTo>
                    <a:pt x="64" y="276"/>
                  </a:lnTo>
                  <a:lnTo>
                    <a:pt x="68" y="268"/>
                  </a:lnTo>
                  <a:lnTo>
                    <a:pt x="72" y="258"/>
                  </a:lnTo>
                  <a:lnTo>
                    <a:pt x="75" y="249"/>
                  </a:lnTo>
                  <a:lnTo>
                    <a:pt x="75" y="253"/>
                  </a:lnTo>
                  <a:lnTo>
                    <a:pt x="76" y="249"/>
                  </a:lnTo>
                  <a:lnTo>
                    <a:pt x="80" y="245"/>
                  </a:lnTo>
                  <a:lnTo>
                    <a:pt x="75" y="258"/>
                  </a:lnTo>
                  <a:lnTo>
                    <a:pt x="79" y="254"/>
                  </a:lnTo>
                  <a:lnTo>
                    <a:pt x="82" y="250"/>
                  </a:lnTo>
                  <a:lnTo>
                    <a:pt x="88" y="241"/>
                  </a:lnTo>
                  <a:lnTo>
                    <a:pt x="88" y="240"/>
                  </a:lnTo>
                  <a:lnTo>
                    <a:pt x="90" y="234"/>
                  </a:lnTo>
                  <a:lnTo>
                    <a:pt x="90" y="235"/>
                  </a:lnTo>
                  <a:lnTo>
                    <a:pt x="93" y="231"/>
                  </a:lnTo>
                  <a:lnTo>
                    <a:pt x="91" y="236"/>
                  </a:lnTo>
                  <a:lnTo>
                    <a:pt x="95" y="231"/>
                  </a:lnTo>
                  <a:lnTo>
                    <a:pt x="98" y="226"/>
                  </a:lnTo>
                  <a:lnTo>
                    <a:pt x="102" y="221"/>
                  </a:lnTo>
                  <a:lnTo>
                    <a:pt x="93" y="247"/>
                  </a:lnTo>
                  <a:lnTo>
                    <a:pt x="100" y="236"/>
                  </a:lnTo>
                  <a:lnTo>
                    <a:pt x="103" y="231"/>
                  </a:lnTo>
                  <a:lnTo>
                    <a:pt x="103" y="230"/>
                  </a:lnTo>
                  <a:lnTo>
                    <a:pt x="103" y="231"/>
                  </a:lnTo>
                  <a:lnTo>
                    <a:pt x="107" y="223"/>
                  </a:lnTo>
                  <a:lnTo>
                    <a:pt x="112" y="216"/>
                  </a:lnTo>
                  <a:lnTo>
                    <a:pt x="115" y="212"/>
                  </a:lnTo>
                  <a:lnTo>
                    <a:pt x="120" y="201"/>
                  </a:lnTo>
                  <a:lnTo>
                    <a:pt x="117" y="209"/>
                  </a:lnTo>
                  <a:lnTo>
                    <a:pt x="124" y="200"/>
                  </a:lnTo>
                  <a:lnTo>
                    <a:pt x="130" y="192"/>
                  </a:lnTo>
                  <a:lnTo>
                    <a:pt x="130" y="192"/>
                  </a:lnTo>
                  <a:lnTo>
                    <a:pt x="134" y="187"/>
                  </a:lnTo>
                  <a:lnTo>
                    <a:pt x="137" y="183"/>
                  </a:lnTo>
                  <a:lnTo>
                    <a:pt x="138" y="179"/>
                  </a:lnTo>
                  <a:lnTo>
                    <a:pt x="140" y="176"/>
                  </a:lnTo>
                  <a:lnTo>
                    <a:pt x="143" y="173"/>
                  </a:lnTo>
                  <a:lnTo>
                    <a:pt x="147" y="170"/>
                  </a:lnTo>
                  <a:lnTo>
                    <a:pt x="152" y="165"/>
                  </a:lnTo>
                  <a:lnTo>
                    <a:pt x="158" y="160"/>
                  </a:lnTo>
                  <a:lnTo>
                    <a:pt x="165" y="155"/>
                  </a:lnTo>
                  <a:lnTo>
                    <a:pt x="153" y="174"/>
                  </a:lnTo>
                  <a:lnTo>
                    <a:pt x="165" y="165"/>
                  </a:lnTo>
                  <a:lnTo>
                    <a:pt x="178" y="155"/>
                  </a:lnTo>
                  <a:lnTo>
                    <a:pt x="171" y="163"/>
                  </a:lnTo>
                  <a:lnTo>
                    <a:pt x="180" y="157"/>
                  </a:lnTo>
                  <a:lnTo>
                    <a:pt x="189" y="148"/>
                  </a:lnTo>
                  <a:lnTo>
                    <a:pt x="193" y="138"/>
                  </a:lnTo>
                  <a:lnTo>
                    <a:pt x="187" y="146"/>
                  </a:lnTo>
                  <a:lnTo>
                    <a:pt x="192" y="132"/>
                  </a:lnTo>
                  <a:lnTo>
                    <a:pt x="202" y="117"/>
                  </a:lnTo>
                  <a:lnTo>
                    <a:pt x="216" y="104"/>
                  </a:lnTo>
                  <a:lnTo>
                    <a:pt x="232" y="93"/>
                  </a:lnTo>
                  <a:lnTo>
                    <a:pt x="247" y="85"/>
                  </a:lnTo>
                  <a:lnTo>
                    <a:pt x="254" y="80"/>
                  </a:lnTo>
                  <a:lnTo>
                    <a:pt x="255" y="77"/>
                  </a:lnTo>
                  <a:lnTo>
                    <a:pt x="258" y="73"/>
                  </a:lnTo>
                  <a:lnTo>
                    <a:pt x="260" y="70"/>
                  </a:lnTo>
                  <a:lnTo>
                    <a:pt x="258" y="72"/>
                  </a:lnTo>
                  <a:lnTo>
                    <a:pt x="256" y="73"/>
                  </a:lnTo>
                  <a:lnTo>
                    <a:pt x="255" y="75"/>
                  </a:lnTo>
                  <a:lnTo>
                    <a:pt x="254" y="75"/>
                  </a:lnTo>
                  <a:lnTo>
                    <a:pt x="260" y="67"/>
                  </a:lnTo>
                  <a:lnTo>
                    <a:pt x="264" y="61"/>
                  </a:lnTo>
                  <a:lnTo>
                    <a:pt x="269" y="55"/>
                  </a:lnTo>
                  <a:lnTo>
                    <a:pt x="274" y="48"/>
                  </a:lnTo>
                  <a:lnTo>
                    <a:pt x="281" y="41"/>
                  </a:lnTo>
                  <a:lnTo>
                    <a:pt x="287" y="36"/>
                  </a:lnTo>
                  <a:lnTo>
                    <a:pt x="294" y="32"/>
                  </a:lnTo>
                  <a:lnTo>
                    <a:pt x="296" y="31"/>
                  </a:lnTo>
                  <a:lnTo>
                    <a:pt x="298" y="31"/>
                  </a:lnTo>
                  <a:lnTo>
                    <a:pt x="298" y="30"/>
                  </a:lnTo>
                  <a:lnTo>
                    <a:pt x="300" y="27"/>
                  </a:lnTo>
                  <a:lnTo>
                    <a:pt x="304" y="23"/>
                  </a:lnTo>
                  <a:lnTo>
                    <a:pt x="308" y="19"/>
                  </a:lnTo>
                  <a:lnTo>
                    <a:pt x="318" y="13"/>
                  </a:lnTo>
                  <a:lnTo>
                    <a:pt x="332" y="8"/>
                  </a:lnTo>
                  <a:lnTo>
                    <a:pt x="332" y="8"/>
                  </a:lnTo>
                  <a:lnTo>
                    <a:pt x="335" y="5"/>
                  </a:lnTo>
                  <a:lnTo>
                    <a:pt x="338" y="5"/>
                  </a:lnTo>
                  <a:lnTo>
                    <a:pt x="341" y="4"/>
                  </a:lnTo>
                  <a:lnTo>
                    <a:pt x="345" y="4"/>
                  </a:lnTo>
                  <a:lnTo>
                    <a:pt x="349" y="4"/>
                  </a:lnTo>
                  <a:lnTo>
                    <a:pt x="352" y="4"/>
                  </a:lnTo>
                  <a:lnTo>
                    <a:pt x="357" y="4"/>
                  </a:lnTo>
                  <a:lnTo>
                    <a:pt x="362" y="4"/>
                  </a:lnTo>
                  <a:lnTo>
                    <a:pt x="363" y="2"/>
                  </a:lnTo>
                  <a:lnTo>
                    <a:pt x="370" y="2"/>
                  </a:lnTo>
                  <a:lnTo>
                    <a:pt x="375" y="0"/>
                  </a:lnTo>
                  <a:lnTo>
                    <a:pt x="381" y="0"/>
                  </a:ln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896386"/>
              <a:endParaRPr lang="en-US" kern="0" dirty="0">
                <a:solidFill>
                  <a:sysClr val="windowText" lastClr="000000"/>
                </a:solidFill>
              </a:endParaRPr>
            </a:p>
          </p:txBody>
        </p:sp>
        <p:sp>
          <p:nvSpPr>
            <p:cNvPr id="64" name="Freeform 331"/>
            <p:cNvSpPr>
              <a:spLocks noEditPoints="1"/>
            </p:cNvSpPr>
            <p:nvPr/>
          </p:nvSpPr>
          <p:spPr bwMode="auto">
            <a:xfrm>
              <a:off x="6642538" y="1453136"/>
              <a:ext cx="803226" cy="1475269"/>
            </a:xfrm>
            <a:custGeom>
              <a:avLst/>
              <a:gdLst>
                <a:gd name="T0" fmla="*/ 371 w 747"/>
                <a:gd name="T1" fmla="*/ 730 h 1372"/>
                <a:gd name="T2" fmla="*/ 583 w 747"/>
                <a:gd name="T3" fmla="*/ 404 h 1372"/>
                <a:gd name="T4" fmla="*/ 486 w 747"/>
                <a:gd name="T5" fmla="*/ 23 h 1372"/>
                <a:gd name="T6" fmla="*/ 485 w 747"/>
                <a:gd name="T7" fmla="*/ 40 h 1372"/>
                <a:gd name="T8" fmla="*/ 507 w 747"/>
                <a:gd name="T9" fmla="*/ 105 h 1372"/>
                <a:gd name="T10" fmla="*/ 526 w 747"/>
                <a:gd name="T11" fmla="*/ 170 h 1372"/>
                <a:gd name="T12" fmla="*/ 513 w 747"/>
                <a:gd name="T13" fmla="*/ 193 h 1372"/>
                <a:gd name="T14" fmla="*/ 505 w 747"/>
                <a:gd name="T15" fmla="*/ 204 h 1372"/>
                <a:gd name="T16" fmla="*/ 498 w 747"/>
                <a:gd name="T17" fmla="*/ 214 h 1372"/>
                <a:gd name="T18" fmla="*/ 484 w 747"/>
                <a:gd name="T19" fmla="*/ 209 h 1372"/>
                <a:gd name="T20" fmla="*/ 477 w 747"/>
                <a:gd name="T21" fmla="*/ 219 h 1372"/>
                <a:gd name="T22" fmla="*/ 455 w 747"/>
                <a:gd name="T23" fmla="*/ 216 h 1372"/>
                <a:gd name="T24" fmla="*/ 438 w 747"/>
                <a:gd name="T25" fmla="*/ 223 h 1372"/>
                <a:gd name="T26" fmla="*/ 440 w 747"/>
                <a:gd name="T27" fmla="*/ 308 h 1372"/>
                <a:gd name="T28" fmla="*/ 637 w 747"/>
                <a:gd name="T29" fmla="*/ 382 h 1372"/>
                <a:gd name="T30" fmla="*/ 598 w 747"/>
                <a:gd name="T31" fmla="*/ 402 h 1372"/>
                <a:gd name="T32" fmla="*/ 499 w 747"/>
                <a:gd name="T33" fmla="*/ 493 h 1372"/>
                <a:gd name="T34" fmla="*/ 442 w 747"/>
                <a:gd name="T35" fmla="*/ 534 h 1372"/>
                <a:gd name="T36" fmla="*/ 398 w 747"/>
                <a:gd name="T37" fmla="*/ 630 h 1372"/>
                <a:gd name="T38" fmla="*/ 618 w 747"/>
                <a:gd name="T39" fmla="*/ 490 h 1372"/>
                <a:gd name="T40" fmla="*/ 588 w 747"/>
                <a:gd name="T41" fmla="*/ 600 h 1372"/>
                <a:gd name="T42" fmla="*/ 449 w 747"/>
                <a:gd name="T43" fmla="*/ 746 h 1372"/>
                <a:gd name="T44" fmla="*/ 402 w 747"/>
                <a:gd name="T45" fmla="*/ 861 h 1372"/>
                <a:gd name="T46" fmla="*/ 404 w 747"/>
                <a:gd name="T47" fmla="*/ 950 h 1372"/>
                <a:gd name="T48" fmla="*/ 346 w 747"/>
                <a:gd name="T49" fmla="*/ 1228 h 1372"/>
                <a:gd name="T50" fmla="*/ 451 w 747"/>
                <a:gd name="T51" fmla="*/ 1333 h 1372"/>
                <a:gd name="T52" fmla="*/ 415 w 747"/>
                <a:gd name="T53" fmla="*/ 1368 h 1372"/>
                <a:gd name="T54" fmla="*/ 302 w 747"/>
                <a:gd name="T55" fmla="*/ 1355 h 1372"/>
                <a:gd name="T56" fmla="*/ 250 w 747"/>
                <a:gd name="T57" fmla="*/ 1291 h 1372"/>
                <a:gd name="T58" fmla="*/ 268 w 747"/>
                <a:gd name="T59" fmla="*/ 1107 h 1372"/>
                <a:gd name="T60" fmla="*/ 248 w 747"/>
                <a:gd name="T61" fmla="*/ 1122 h 1372"/>
                <a:gd name="T62" fmla="*/ 237 w 747"/>
                <a:gd name="T63" fmla="*/ 1123 h 1372"/>
                <a:gd name="T64" fmla="*/ 213 w 747"/>
                <a:gd name="T65" fmla="*/ 1157 h 1372"/>
                <a:gd name="T66" fmla="*/ 182 w 747"/>
                <a:gd name="T67" fmla="*/ 1186 h 1372"/>
                <a:gd name="T68" fmla="*/ 175 w 747"/>
                <a:gd name="T69" fmla="*/ 1255 h 1372"/>
                <a:gd name="T70" fmla="*/ 201 w 747"/>
                <a:gd name="T71" fmla="*/ 1297 h 1372"/>
                <a:gd name="T72" fmla="*/ 224 w 747"/>
                <a:gd name="T73" fmla="*/ 1331 h 1372"/>
                <a:gd name="T74" fmla="*/ 205 w 747"/>
                <a:gd name="T75" fmla="*/ 1335 h 1372"/>
                <a:gd name="T76" fmla="*/ 150 w 747"/>
                <a:gd name="T77" fmla="*/ 1323 h 1372"/>
                <a:gd name="T78" fmla="*/ 94 w 747"/>
                <a:gd name="T79" fmla="*/ 1247 h 1372"/>
                <a:gd name="T80" fmla="*/ 141 w 747"/>
                <a:gd name="T81" fmla="*/ 1124 h 1372"/>
                <a:gd name="T82" fmla="*/ 177 w 747"/>
                <a:gd name="T83" fmla="*/ 1079 h 1372"/>
                <a:gd name="T84" fmla="*/ 252 w 747"/>
                <a:gd name="T85" fmla="*/ 965 h 1372"/>
                <a:gd name="T86" fmla="*/ 273 w 747"/>
                <a:gd name="T87" fmla="*/ 931 h 1372"/>
                <a:gd name="T88" fmla="*/ 266 w 747"/>
                <a:gd name="T89" fmla="*/ 879 h 1372"/>
                <a:gd name="T90" fmla="*/ 221 w 747"/>
                <a:gd name="T91" fmla="*/ 869 h 1372"/>
                <a:gd name="T92" fmla="*/ 7 w 747"/>
                <a:gd name="T93" fmla="*/ 1013 h 1372"/>
                <a:gd name="T94" fmla="*/ 99 w 747"/>
                <a:gd name="T95" fmla="*/ 918 h 1372"/>
                <a:gd name="T96" fmla="*/ 181 w 747"/>
                <a:gd name="T97" fmla="*/ 772 h 1372"/>
                <a:gd name="T98" fmla="*/ 199 w 747"/>
                <a:gd name="T99" fmla="*/ 570 h 1372"/>
                <a:gd name="T100" fmla="*/ 221 w 747"/>
                <a:gd name="T101" fmla="*/ 515 h 1372"/>
                <a:gd name="T102" fmla="*/ 217 w 747"/>
                <a:gd name="T103" fmla="*/ 457 h 1372"/>
                <a:gd name="T104" fmla="*/ 214 w 747"/>
                <a:gd name="T105" fmla="*/ 423 h 1372"/>
                <a:gd name="T106" fmla="*/ 218 w 747"/>
                <a:gd name="T107" fmla="*/ 370 h 1372"/>
                <a:gd name="T108" fmla="*/ 244 w 747"/>
                <a:gd name="T109" fmla="*/ 302 h 1372"/>
                <a:gd name="T110" fmla="*/ 291 w 747"/>
                <a:gd name="T111" fmla="*/ 232 h 1372"/>
                <a:gd name="T112" fmla="*/ 279 w 747"/>
                <a:gd name="T113" fmla="*/ 240 h 1372"/>
                <a:gd name="T114" fmla="*/ 300 w 747"/>
                <a:gd name="T115" fmla="*/ 152 h 1372"/>
                <a:gd name="T116" fmla="*/ 295 w 747"/>
                <a:gd name="T117" fmla="*/ 131 h 1372"/>
                <a:gd name="T118" fmla="*/ 297 w 747"/>
                <a:gd name="T119" fmla="*/ 89 h 1372"/>
                <a:gd name="T120" fmla="*/ 331 w 747"/>
                <a:gd name="T121" fmla="*/ 33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7" h="1372">
                  <a:moveTo>
                    <a:pt x="230" y="1120"/>
                  </a:moveTo>
                  <a:lnTo>
                    <a:pt x="230" y="1120"/>
                  </a:lnTo>
                  <a:lnTo>
                    <a:pt x="228" y="1123"/>
                  </a:lnTo>
                  <a:lnTo>
                    <a:pt x="230" y="1122"/>
                  </a:lnTo>
                  <a:lnTo>
                    <a:pt x="231" y="1122"/>
                  </a:lnTo>
                  <a:lnTo>
                    <a:pt x="230" y="1120"/>
                  </a:lnTo>
                  <a:close/>
                  <a:moveTo>
                    <a:pt x="361" y="706"/>
                  </a:moveTo>
                  <a:lnTo>
                    <a:pt x="359" y="710"/>
                  </a:lnTo>
                  <a:lnTo>
                    <a:pt x="356" y="714"/>
                  </a:lnTo>
                  <a:lnTo>
                    <a:pt x="353" y="716"/>
                  </a:lnTo>
                  <a:lnTo>
                    <a:pt x="352" y="719"/>
                  </a:lnTo>
                  <a:lnTo>
                    <a:pt x="355" y="725"/>
                  </a:lnTo>
                  <a:lnTo>
                    <a:pt x="357" y="733"/>
                  </a:lnTo>
                  <a:lnTo>
                    <a:pt x="359" y="739"/>
                  </a:lnTo>
                  <a:lnTo>
                    <a:pt x="362" y="750"/>
                  </a:lnTo>
                  <a:lnTo>
                    <a:pt x="366" y="747"/>
                  </a:lnTo>
                  <a:lnTo>
                    <a:pt x="365" y="741"/>
                  </a:lnTo>
                  <a:lnTo>
                    <a:pt x="365" y="736"/>
                  </a:lnTo>
                  <a:lnTo>
                    <a:pt x="366" y="732"/>
                  </a:lnTo>
                  <a:lnTo>
                    <a:pt x="371" y="742"/>
                  </a:lnTo>
                  <a:lnTo>
                    <a:pt x="373" y="741"/>
                  </a:lnTo>
                  <a:lnTo>
                    <a:pt x="371" y="730"/>
                  </a:lnTo>
                  <a:lnTo>
                    <a:pt x="368" y="727"/>
                  </a:lnTo>
                  <a:lnTo>
                    <a:pt x="365" y="723"/>
                  </a:lnTo>
                  <a:lnTo>
                    <a:pt x="364" y="719"/>
                  </a:lnTo>
                  <a:lnTo>
                    <a:pt x="362" y="716"/>
                  </a:lnTo>
                  <a:lnTo>
                    <a:pt x="361" y="712"/>
                  </a:lnTo>
                  <a:lnTo>
                    <a:pt x="361" y="708"/>
                  </a:lnTo>
                  <a:lnTo>
                    <a:pt x="361" y="706"/>
                  </a:lnTo>
                  <a:close/>
                  <a:moveTo>
                    <a:pt x="504" y="663"/>
                  </a:moveTo>
                  <a:lnTo>
                    <a:pt x="500" y="666"/>
                  </a:lnTo>
                  <a:lnTo>
                    <a:pt x="503" y="665"/>
                  </a:lnTo>
                  <a:lnTo>
                    <a:pt x="504" y="663"/>
                  </a:lnTo>
                  <a:close/>
                  <a:moveTo>
                    <a:pt x="632" y="608"/>
                  </a:moveTo>
                  <a:lnTo>
                    <a:pt x="620" y="609"/>
                  </a:lnTo>
                  <a:lnTo>
                    <a:pt x="627" y="609"/>
                  </a:lnTo>
                  <a:lnTo>
                    <a:pt x="632" y="608"/>
                  </a:lnTo>
                  <a:close/>
                  <a:moveTo>
                    <a:pt x="451" y="424"/>
                  </a:moveTo>
                  <a:lnTo>
                    <a:pt x="450" y="430"/>
                  </a:lnTo>
                  <a:lnTo>
                    <a:pt x="451" y="428"/>
                  </a:lnTo>
                  <a:lnTo>
                    <a:pt x="451" y="424"/>
                  </a:lnTo>
                  <a:close/>
                  <a:moveTo>
                    <a:pt x="582" y="402"/>
                  </a:moveTo>
                  <a:lnTo>
                    <a:pt x="580" y="404"/>
                  </a:lnTo>
                  <a:lnTo>
                    <a:pt x="583" y="404"/>
                  </a:lnTo>
                  <a:lnTo>
                    <a:pt x="583" y="402"/>
                  </a:lnTo>
                  <a:lnTo>
                    <a:pt x="582" y="402"/>
                  </a:lnTo>
                  <a:close/>
                  <a:moveTo>
                    <a:pt x="417" y="0"/>
                  </a:moveTo>
                  <a:lnTo>
                    <a:pt x="424" y="0"/>
                  </a:lnTo>
                  <a:lnTo>
                    <a:pt x="431" y="1"/>
                  </a:lnTo>
                  <a:lnTo>
                    <a:pt x="437" y="3"/>
                  </a:lnTo>
                  <a:lnTo>
                    <a:pt x="440" y="5"/>
                  </a:lnTo>
                  <a:lnTo>
                    <a:pt x="447" y="6"/>
                  </a:lnTo>
                  <a:lnTo>
                    <a:pt x="454" y="9"/>
                  </a:lnTo>
                  <a:lnTo>
                    <a:pt x="458" y="11"/>
                  </a:lnTo>
                  <a:lnTo>
                    <a:pt x="462" y="14"/>
                  </a:lnTo>
                  <a:lnTo>
                    <a:pt x="463" y="16"/>
                  </a:lnTo>
                  <a:lnTo>
                    <a:pt x="464" y="18"/>
                  </a:lnTo>
                  <a:lnTo>
                    <a:pt x="464" y="18"/>
                  </a:lnTo>
                  <a:lnTo>
                    <a:pt x="466" y="18"/>
                  </a:lnTo>
                  <a:lnTo>
                    <a:pt x="467" y="18"/>
                  </a:lnTo>
                  <a:lnTo>
                    <a:pt x="469" y="18"/>
                  </a:lnTo>
                  <a:lnTo>
                    <a:pt x="472" y="18"/>
                  </a:lnTo>
                  <a:lnTo>
                    <a:pt x="475" y="18"/>
                  </a:lnTo>
                  <a:lnTo>
                    <a:pt x="478" y="18"/>
                  </a:lnTo>
                  <a:lnTo>
                    <a:pt x="482" y="20"/>
                  </a:lnTo>
                  <a:lnTo>
                    <a:pt x="486" y="23"/>
                  </a:lnTo>
                  <a:lnTo>
                    <a:pt x="489" y="25"/>
                  </a:lnTo>
                  <a:lnTo>
                    <a:pt x="490" y="28"/>
                  </a:lnTo>
                  <a:lnTo>
                    <a:pt x="490" y="31"/>
                  </a:lnTo>
                  <a:lnTo>
                    <a:pt x="493" y="34"/>
                  </a:lnTo>
                  <a:lnTo>
                    <a:pt x="494" y="38"/>
                  </a:lnTo>
                  <a:lnTo>
                    <a:pt x="495" y="42"/>
                  </a:lnTo>
                  <a:lnTo>
                    <a:pt x="494" y="46"/>
                  </a:lnTo>
                  <a:lnTo>
                    <a:pt x="494" y="47"/>
                  </a:lnTo>
                  <a:lnTo>
                    <a:pt x="493" y="49"/>
                  </a:lnTo>
                  <a:lnTo>
                    <a:pt x="493" y="50"/>
                  </a:lnTo>
                  <a:lnTo>
                    <a:pt x="493" y="49"/>
                  </a:lnTo>
                  <a:lnTo>
                    <a:pt x="493" y="46"/>
                  </a:lnTo>
                  <a:lnTo>
                    <a:pt x="493" y="43"/>
                  </a:lnTo>
                  <a:lnTo>
                    <a:pt x="490" y="38"/>
                  </a:lnTo>
                  <a:lnTo>
                    <a:pt x="487" y="34"/>
                  </a:lnTo>
                  <a:lnTo>
                    <a:pt x="484" y="29"/>
                  </a:lnTo>
                  <a:lnTo>
                    <a:pt x="480" y="25"/>
                  </a:lnTo>
                  <a:lnTo>
                    <a:pt x="482" y="29"/>
                  </a:lnTo>
                  <a:lnTo>
                    <a:pt x="485" y="33"/>
                  </a:lnTo>
                  <a:lnTo>
                    <a:pt x="485" y="36"/>
                  </a:lnTo>
                  <a:lnTo>
                    <a:pt x="486" y="37"/>
                  </a:lnTo>
                  <a:lnTo>
                    <a:pt x="485" y="40"/>
                  </a:lnTo>
                  <a:lnTo>
                    <a:pt x="485" y="40"/>
                  </a:lnTo>
                  <a:lnTo>
                    <a:pt x="485" y="38"/>
                  </a:lnTo>
                  <a:lnTo>
                    <a:pt x="485" y="37"/>
                  </a:lnTo>
                  <a:lnTo>
                    <a:pt x="482" y="34"/>
                  </a:lnTo>
                  <a:lnTo>
                    <a:pt x="484" y="37"/>
                  </a:lnTo>
                  <a:lnTo>
                    <a:pt x="486" y="42"/>
                  </a:lnTo>
                  <a:lnTo>
                    <a:pt x="489" y="47"/>
                  </a:lnTo>
                  <a:lnTo>
                    <a:pt x="491" y="55"/>
                  </a:lnTo>
                  <a:lnTo>
                    <a:pt x="498" y="63"/>
                  </a:lnTo>
                  <a:lnTo>
                    <a:pt x="503" y="72"/>
                  </a:lnTo>
                  <a:lnTo>
                    <a:pt x="505" y="76"/>
                  </a:lnTo>
                  <a:lnTo>
                    <a:pt x="507" y="78"/>
                  </a:lnTo>
                  <a:lnTo>
                    <a:pt x="508" y="82"/>
                  </a:lnTo>
                  <a:lnTo>
                    <a:pt x="507" y="85"/>
                  </a:lnTo>
                  <a:lnTo>
                    <a:pt x="505" y="86"/>
                  </a:lnTo>
                  <a:lnTo>
                    <a:pt x="505" y="87"/>
                  </a:lnTo>
                  <a:lnTo>
                    <a:pt x="504" y="89"/>
                  </a:lnTo>
                  <a:lnTo>
                    <a:pt x="504" y="93"/>
                  </a:lnTo>
                  <a:lnTo>
                    <a:pt x="503" y="96"/>
                  </a:lnTo>
                  <a:lnTo>
                    <a:pt x="502" y="99"/>
                  </a:lnTo>
                  <a:lnTo>
                    <a:pt x="502" y="99"/>
                  </a:lnTo>
                  <a:lnTo>
                    <a:pt x="507" y="105"/>
                  </a:lnTo>
                  <a:lnTo>
                    <a:pt x="513" y="111"/>
                  </a:lnTo>
                  <a:lnTo>
                    <a:pt x="518" y="117"/>
                  </a:lnTo>
                  <a:lnTo>
                    <a:pt x="522" y="122"/>
                  </a:lnTo>
                  <a:lnTo>
                    <a:pt x="526" y="129"/>
                  </a:lnTo>
                  <a:lnTo>
                    <a:pt x="527" y="131"/>
                  </a:lnTo>
                  <a:lnTo>
                    <a:pt x="527" y="135"/>
                  </a:lnTo>
                  <a:lnTo>
                    <a:pt x="526" y="138"/>
                  </a:lnTo>
                  <a:lnTo>
                    <a:pt x="525" y="139"/>
                  </a:lnTo>
                  <a:lnTo>
                    <a:pt x="526" y="144"/>
                  </a:lnTo>
                  <a:lnTo>
                    <a:pt x="526" y="149"/>
                  </a:lnTo>
                  <a:lnTo>
                    <a:pt x="527" y="152"/>
                  </a:lnTo>
                  <a:lnTo>
                    <a:pt x="530" y="156"/>
                  </a:lnTo>
                  <a:lnTo>
                    <a:pt x="531" y="157"/>
                  </a:lnTo>
                  <a:lnTo>
                    <a:pt x="530" y="158"/>
                  </a:lnTo>
                  <a:lnTo>
                    <a:pt x="530" y="161"/>
                  </a:lnTo>
                  <a:lnTo>
                    <a:pt x="530" y="162"/>
                  </a:lnTo>
                  <a:lnTo>
                    <a:pt x="530" y="164"/>
                  </a:lnTo>
                  <a:lnTo>
                    <a:pt x="529" y="166"/>
                  </a:lnTo>
                  <a:lnTo>
                    <a:pt x="526" y="166"/>
                  </a:lnTo>
                  <a:lnTo>
                    <a:pt x="526" y="166"/>
                  </a:lnTo>
                  <a:lnTo>
                    <a:pt x="525" y="167"/>
                  </a:lnTo>
                  <a:lnTo>
                    <a:pt x="526" y="170"/>
                  </a:lnTo>
                  <a:lnTo>
                    <a:pt x="527" y="173"/>
                  </a:lnTo>
                  <a:lnTo>
                    <a:pt x="526" y="175"/>
                  </a:lnTo>
                  <a:lnTo>
                    <a:pt x="525" y="176"/>
                  </a:lnTo>
                  <a:lnTo>
                    <a:pt x="525" y="178"/>
                  </a:lnTo>
                  <a:lnTo>
                    <a:pt x="524" y="178"/>
                  </a:lnTo>
                  <a:lnTo>
                    <a:pt x="522" y="180"/>
                  </a:lnTo>
                  <a:lnTo>
                    <a:pt x="521" y="182"/>
                  </a:lnTo>
                  <a:lnTo>
                    <a:pt x="517" y="184"/>
                  </a:lnTo>
                  <a:lnTo>
                    <a:pt x="518" y="184"/>
                  </a:lnTo>
                  <a:lnTo>
                    <a:pt x="518" y="185"/>
                  </a:lnTo>
                  <a:lnTo>
                    <a:pt x="517" y="187"/>
                  </a:lnTo>
                  <a:lnTo>
                    <a:pt x="517" y="187"/>
                  </a:lnTo>
                  <a:lnTo>
                    <a:pt x="518" y="188"/>
                  </a:lnTo>
                  <a:lnTo>
                    <a:pt x="518" y="189"/>
                  </a:lnTo>
                  <a:lnTo>
                    <a:pt x="517" y="189"/>
                  </a:lnTo>
                  <a:lnTo>
                    <a:pt x="516" y="191"/>
                  </a:lnTo>
                  <a:lnTo>
                    <a:pt x="516" y="191"/>
                  </a:lnTo>
                  <a:lnTo>
                    <a:pt x="516" y="191"/>
                  </a:lnTo>
                  <a:lnTo>
                    <a:pt x="516" y="192"/>
                  </a:lnTo>
                  <a:lnTo>
                    <a:pt x="516" y="193"/>
                  </a:lnTo>
                  <a:lnTo>
                    <a:pt x="514" y="193"/>
                  </a:lnTo>
                  <a:lnTo>
                    <a:pt x="513" y="193"/>
                  </a:lnTo>
                  <a:lnTo>
                    <a:pt x="516" y="197"/>
                  </a:lnTo>
                  <a:lnTo>
                    <a:pt x="516" y="200"/>
                  </a:lnTo>
                  <a:lnTo>
                    <a:pt x="516" y="200"/>
                  </a:lnTo>
                  <a:lnTo>
                    <a:pt x="516" y="200"/>
                  </a:lnTo>
                  <a:lnTo>
                    <a:pt x="513" y="200"/>
                  </a:lnTo>
                  <a:lnTo>
                    <a:pt x="513" y="198"/>
                  </a:lnTo>
                  <a:lnTo>
                    <a:pt x="513" y="200"/>
                  </a:lnTo>
                  <a:lnTo>
                    <a:pt x="513" y="200"/>
                  </a:lnTo>
                  <a:lnTo>
                    <a:pt x="511" y="200"/>
                  </a:lnTo>
                  <a:lnTo>
                    <a:pt x="511" y="198"/>
                  </a:lnTo>
                  <a:lnTo>
                    <a:pt x="511" y="201"/>
                  </a:lnTo>
                  <a:lnTo>
                    <a:pt x="511" y="204"/>
                  </a:lnTo>
                  <a:lnTo>
                    <a:pt x="511" y="204"/>
                  </a:lnTo>
                  <a:lnTo>
                    <a:pt x="511" y="204"/>
                  </a:lnTo>
                  <a:lnTo>
                    <a:pt x="509" y="202"/>
                  </a:lnTo>
                  <a:lnTo>
                    <a:pt x="507" y="201"/>
                  </a:lnTo>
                  <a:lnTo>
                    <a:pt x="505" y="198"/>
                  </a:lnTo>
                  <a:lnTo>
                    <a:pt x="505" y="198"/>
                  </a:lnTo>
                  <a:lnTo>
                    <a:pt x="503" y="196"/>
                  </a:lnTo>
                  <a:lnTo>
                    <a:pt x="502" y="196"/>
                  </a:lnTo>
                  <a:lnTo>
                    <a:pt x="504" y="200"/>
                  </a:lnTo>
                  <a:lnTo>
                    <a:pt x="505" y="204"/>
                  </a:lnTo>
                  <a:lnTo>
                    <a:pt x="507" y="206"/>
                  </a:lnTo>
                  <a:lnTo>
                    <a:pt x="507" y="207"/>
                  </a:lnTo>
                  <a:lnTo>
                    <a:pt x="507" y="207"/>
                  </a:lnTo>
                  <a:lnTo>
                    <a:pt x="507" y="207"/>
                  </a:lnTo>
                  <a:lnTo>
                    <a:pt x="505" y="206"/>
                  </a:lnTo>
                  <a:lnTo>
                    <a:pt x="504" y="205"/>
                  </a:lnTo>
                  <a:lnTo>
                    <a:pt x="503" y="205"/>
                  </a:lnTo>
                  <a:lnTo>
                    <a:pt x="504" y="207"/>
                  </a:lnTo>
                  <a:lnTo>
                    <a:pt x="504" y="209"/>
                  </a:lnTo>
                  <a:lnTo>
                    <a:pt x="504" y="209"/>
                  </a:lnTo>
                  <a:lnTo>
                    <a:pt x="504" y="209"/>
                  </a:lnTo>
                  <a:lnTo>
                    <a:pt x="502" y="207"/>
                  </a:lnTo>
                  <a:lnTo>
                    <a:pt x="499" y="205"/>
                  </a:lnTo>
                  <a:lnTo>
                    <a:pt x="496" y="202"/>
                  </a:lnTo>
                  <a:lnTo>
                    <a:pt x="498" y="206"/>
                  </a:lnTo>
                  <a:lnTo>
                    <a:pt x="500" y="210"/>
                  </a:lnTo>
                  <a:lnTo>
                    <a:pt x="502" y="214"/>
                  </a:lnTo>
                  <a:lnTo>
                    <a:pt x="502" y="214"/>
                  </a:lnTo>
                  <a:lnTo>
                    <a:pt x="500" y="213"/>
                  </a:lnTo>
                  <a:lnTo>
                    <a:pt x="498" y="211"/>
                  </a:lnTo>
                  <a:lnTo>
                    <a:pt x="496" y="211"/>
                  </a:lnTo>
                  <a:lnTo>
                    <a:pt x="498" y="214"/>
                  </a:lnTo>
                  <a:lnTo>
                    <a:pt x="499" y="216"/>
                  </a:lnTo>
                  <a:lnTo>
                    <a:pt x="499" y="216"/>
                  </a:lnTo>
                  <a:lnTo>
                    <a:pt x="499" y="216"/>
                  </a:lnTo>
                  <a:lnTo>
                    <a:pt x="496" y="215"/>
                  </a:lnTo>
                  <a:lnTo>
                    <a:pt x="495" y="213"/>
                  </a:lnTo>
                  <a:lnTo>
                    <a:pt x="491" y="210"/>
                  </a:lnTo>
                  <a:lnTo>
                    <a:pt x="489" y="206"/>
                  </a:lnTo>
                  <a:lnTo>
                    <a:pt x="487" y="206"/>
                  </a:lnTo>
                  <a:lnTo>
                    <a:pt x="489" y="207"/>
                  </a:lnTo>
                  <a:lnTo>
                    <a:pt x="487" y="206"/>
                  </a:lnTo>
                  <a:lnTo>
                    <a:pt x="487" y="206"/>
                  </a:lnTo>
                  <a:lnTo>
                    <a:pt x="490" y="210"/>
                  </a:lnTo>
                  <a:lnTo>
                    <a:pt x="491" y="214"/>
                  </a:lnTo>
                  <a:lnTo>
                    <a:pt x="493" y="216"/>
                  </a:lnTo>
                  <a:lnTo>
                    <a:pt x="493" y="216"/>
                  </a:lnTo>
                  <a:lnTo>
                    <a:pt x="493" y="216"/>
                  </a:lnTo>
                  <a:lnTo>
                    <a:pt x="491" y="215"/>
                  </a:lnTo>
                  <a:lnTo>
                    <a:pt x="489" y="213"/>
                  </a:lnTo>
                  <a:lnTo>
                    <a:pt x="485" y="210"/>
                  </a:lnTo>
                  <a:lnTo>
                    <a:pt x="486" y="213"/>
                  </a:lnTo>
                  <a:lnTo>
                    <a:pt x="484" y="209"/>
                  </a:lnTo>
                  <a:lnTo>
                    <a:pt x="484" y="209"/>
                  </a:lnTo>
                  <a:lnTo>
                    <a:pt x="485" y="214"/>
                  </a:lnTo>
                  <a:lnTo>
                    <a:pt x="486" y="216"/>
                  </a:lnTo>
                  <a:lnTo>
                    <a:pt x="486" y="219"/>
                  </a:lnTo>
                  <a:lnTo>
                    <a:pt x="486" y="219"/>
                  </a:lnTo>
                  <a:lnTo>
                    <a:pt x="486" y="219"/>
                  </a:lnTo>
                  <a:lnTo>
                    <a:pt x="485" y="218"/>
                  </a:lnTo>
                  <a:lnTo>
                    <a:pt x="482" y="214"/>
                  </a:lnTo>
                  <a:lnTo>
                    <a:pt x="481" y="213"/>
                  </a:lnTo>
                  <a:lnTo>
                    <a:pt x="480" y="213"/>
                  </a:lnTo>
                  <a:lnTo>
                    <a:pt x="480" y="214"/>
                  </a:lnTo>
                  <a:lnTo>
                    <a:pt x="481" y="216"/>
                  </a:lnTo>
                  <a:lnTo>
                    <a:pt x="482" y="216"/>
                  </a:lnTo>
                  <a:lnTo>
                    <a:pt x="481" y="218"/>
                  </a:lnTo>
                  <a:lnTo>
                    <a:pt x="482" y="219"/>
                  </a:lnTo>
                  <a:lnTo>
                    <a:pt x="482" y="220"/>
                  </a:lnTo>
                  <a:lnTo>
                    <a:pt x="482" y="220"/>
                  </a:lnTo>
                  <a:lnTo>
                    <a:pt x="482" y="220"/>
                  </a:lnTo>
                  <a:lnTo>
                    <a:pt x="481" y="219"/>
                  </a:lnTo>
                  <a:lnTo>
                    <a:pt x="480" y="218"/>
                  </a:lnTo>
                  <a:lnTo>
                    <a:pt x="478" y="218"/>
                  </a:lnTo>
                  <a:lnTo>
                    <a:pt x="477" y="218"/>
                  </a:lnTo>
                  <a:lnTo>
                    <a:pt x="477" y="219"/>
                  </a:lnTo>
                  <a:lnTo>
                    <a:pt x="477" y="219"/>
                  </a:lnTo>
                  <a:lnTo>
                    <a:pt x="477" y="219"/>
                  </a:lnTo>
                  <a:lnTo>
                    <a:pt x="476" y="218"/>
                  </a:lnTo>
                  <a:lnTo>
                    <a:pt x="475" y="218"/>
                  </a:lnTo>
                  <a:lnTo>
                    <a:pt x="472" y="218"/>
                  </a:lnTo>
                  <a:lnTo>
                    <a:pt x="472" y="218"/>
                  </a:lnTo>
                  <a:lnTo>
                    <a:pt x="471" y="218"/>
                  </a:lnTo>
                  <a:lnTo>
                    <a:pt x="467" y="216"/>
                  </a:lnTo>
                  <a:lnTo>
                    <a:pt x="463" y="214"/>
                  </a:lnTo>
                  <a:lnTo>
                    <a:pt x="460" y="214"/>
                  </a:lnTo>
                  <a:lnTo>
                    <a:pt x="464" y="216"/>
                  </a:lnTo>
                  <a:lnTo>
                    <a:pt x="466" y="218"/>
                  </a:lnTo>
                  <a:lnTo>
                    <a:pt x="467" y="219"/>
                  </a:lnTo>
                  <a:lnTo>
                    <a:pt x="468" y="219"/>
                  </a:lnTo>
                  <a:lnTo>
                    <a:pt x="467" y="219"/>
                  </a:lnTo>
                  <a:lnTo>
                    <a:pt x="466" y="219"/>
                  </a:lnTo>
                  <a:lnTo>
                    <a:pt x="463" y="219"/>
                  </a:lnTo>
                  <a:lnTo>
                    <a:pt x="462" y="219"/>
                  </a:lnTo>
                  <a:lnTo>
                    <a:pt x="462" y="220"/>
                  </a:lnTo>
                  <a:lnTo>
                    <a:pt x="462" y="219"/>
                  </a:lnTo>
                  <a:lnTo>
                    <a:pt x="459" y="218"/>
                  </a:lnTo>
                  <a:lnTo>
                    <a:pt x="455" y="216"/>
                  </a:lnTo>
                  <a:lnTo>
                    <a:pt x="454" y="216"/>
                  </a:lnTo>
                  <a:lnTo>
                    <a:pt x="456" y="218"/>
                  </a:lnTo>
                  <a:lnTo>
                    <a:pt x="459" y="219"/>
                  </a:lnTo>
                  <a:lnTo>
                    <a:pt x="460" y="220"/>
                  </a:lnTo>
                  <a:lnTo>
                    <a:pt x="460" y="222"/>
                  </a:lnTo>
                  <a:lnTo>
                    <a:pt x="460" y="222"/>
                  </a:lnTo>
                  <a:lnTo>
                    <a:pt x="458" y="220"/>
                  </a:lnTo>
                  <a:lnTo>
                    <a:pt x="455" y="220"/>
                  </a:lnTo>
                  <a:lnTo>
                    <a:pt x="453" y="219"/>
                  </a:lnTo>
                  <a:lnTo>
                    <a:pt x="449" y="218"/>
                  </a:lnTo>
                  <a:lnTo>
                    <a:pt x="447" y="218"/>
                  </a:lnTo>
                  <a:lnTo>
                    <a:pt x="445" y="216"/>
                  </a:lnTo>
                  <a:lnTo>
                    <a:pt x="441" y="216"/>
                  </a:lnTo>
                  <a:lnTo>
                    <a:pt x="441" y="216"/>
                  </a:lnTo>
                  <a:lnTo>
                    <a:pt x="442" y="219"/>
                  </a:lnTo>
                  <a:lnTo>
                    <a:pt x="444" y="220"/>
                  </a:lnTo>
                  <a:lnTo>
                    <a:pt x="444" y="220"/>
                  </a:lnTo>
                  <a:lnTo>
                    <a:pt x="444" y="220"/>
                  </a:lnTo>
                  <a:lnTo>
                    <a:pt x="442" y="220"/>
                  </a:lnTo>
                  <a:lnTo>
                    <a:pt x="441" y="219"/>
                  </a:lnTo>
                  <a:lnTo>
                    <a:pt x="440" y="220"/>
                  </a:lnTo>
                  <a:lnTo>
                    <a:pt x="438" y="223"/>
                  </a:lnTo>
                  <a:lnTo>
                    <a:pt x="437" y="226"/>
                  </a:lnTo>
                  <a:lnTo>
                    <a:pt x="436" y="229"/>
                  </a:lnTo>
                  <a:lnTo>
                    <a:pt x="436" y="235"/>
                  </a:lnTo>
                  <a:lnTo>
                    <a:pt x="435" y="242"/>
                  </a:lnTo>
                  <a:lnTo>
                    <a:pt x="433" y="247"/>
                  </a:lnTo>
                  <a:lnTo>
                    <a:pt x="431" y="251"/>
                  </a:lnTo>
                  <a:lnTo>
                    <a:pt x="428" y="257"/>
                  </a:lnTo>
                  <a:lnTo>
                    <a:pt x="427" y="264"/>
                  </a:lnTo>
                  <a:lnTo>
                    <a:pt x="427" y="272"/>
                  </a:lnTo>
                  <a:lnTo>
                    <a:pt x="427" y="276"/>
                  </a:lnTo>
                  <a:lnTo>
                    <a:pt x="427" y="280"/>
                  </a:lnTo>
                  <a:lnTo>
                    <a:pt x="427" y="281"/>
                  </a:lnTo>
                  <a:lnTo>
                    <a:pt x="427" y="282"/>
                  </a:lnTo>
                  <a:lnTo>
                    <a:pt x="426" y="282"/>
                  </a:lnTo>
                  <a:lnTo>
                    <a:pt x="426" y="285"/>
                  </a:lnTo>
                  <a:lnTo>
                    <a:pt x="428" y="288"/>
                  </a:lnTo>
                  <a:lnTo>
                    <a:pt x="429" y="290"/>
                  </a:lnTo>
                  <a:lnTo>
                    <a:pt x="432" y="295"/>
                  </a:lnTo>
                  <a:lnTo>
                    <a:pt x="435" y="304"/>
                  </a:lnTo>
                  <a:lnTo>
                    <a:pt x="436" y="304"/>
                  </a:lnTo>
                  <a:lnTo>
                    <a:pt x="437" y="306"/>
                  </a:lnTo>
                  <a:lnTo>
                    <a:pt x="440" y="308"/>
                  </a:lnTo>
                  <a:lnTo>
                    <a:pt x="441" y="312"/>
                  </a:lnTo>
                  <a:lnTo>
                    <a:pt x="442" y="316"/>
                  </a:lnTo>
                  <a:lnTo>
                    <a:pt x="447" y="333"/>
                  </a:lnTo>
                  <a:lnTo>
                    <a:pt x="449" y="355"/>
                  </a:lnTo>
                  <a:lnTo>
                    <a:pt x="449" y="378"/>
                  </a:lnTo>
                  <a:lnTo>
                    <a:pt x="451" y="387"/>
                  </a:lnTo>
                  <a:lnTo>
                    <a:pt x="453" y="397"/>
                  </a:lnTo>
                  <a:lnTo>
                    <a:pt x="453" y="410"/>
                  </a:lnTo>
                  <a:lnTo>
                    <a:pt x="453" y="422"/>
                  </a:lnTo>
                  <a:lnTo>
                    <a:pt x="453" y="428"/>
                  </a:lnTo>
                  <a:lnTo>
                    <a:pt x="508" y="414"/>
                  </a:lnTo>
                  <a:lnTo>
                    <a:pt x="531" y="390"/>
                  </a:lnTo>
                  <a:lnTo>
                    <a:pt x="542" y="375"/>
                  </a:lnTo>
                  <a:lnTo>
                    <a:pt x="557" y="364"/>
                  </a:lnTo>
                  <a:lnTo>
                    <a:pt x="575" y="355"/>
                  </a:lnTo>
                  <a:lnTo>
                    <a:pt x="589" y="351"/>
                  </a:lnTo>
                  <a:lnTo>
                    <a:pt x="603" y="351"/>
                  </a:lnTo>
                  <a:lnTo>
                    <a:pt x="618" y="355"/>
                  </a:lnTo>
                  <a:lnTo>
                    <a:pt x="631" y="360"/>
                  </a:lnTo>
                  <a:lnTo>
                    <a:pt x="638" y="369"/>
                  </a:lnTo>
                  <a:lnTo>
                    <a:pt x="640" y="380"/>
                  </a:lnTo>
                  <a:lnTo>
                    <a:pt x="637" y="382"/>
                  </a:lnTo>
                  <a:lnTo>
                    <a:pt x="636" y="384"/>
                  </a:lnTo>
                  <a:lnTo>
                    <a:pt x="634" y="386"/>
                  </a:lnTo>
                  <a:lnTo>
                    <a:pt x="633" y="387"/>
                  </a:lnTo>
                  <a:lnTo>
                    <a:pt x="632" y="390"/>
                  </a:lnTo>
                  <a:lnTo>
                    <a:pt x="631" y="395"/>
                  </a:lnTo>
                  <a:lnTo>
                    <a:pt x="627" y="395"/>
                  </a:lnTo>
                  <a:lnTo>
                    <a:pt x="621" y="391"/>
                  </a:lnTo>
                  <a:lnTo>
                    <a:pt x="616" y="384"/>
                  </a:lnTo>
                  <a:lnTo>
                    <a:pt x="611" y="377"/>
                  </a:lnTo>
                  <a:lnTo>
                    <a:pt x="597" y="384"/>
                  </a:lnTo>
                  <a:lnTo>
                    <a:pt x="594" y="388"/>
                  </a:lnTo>
                  <a:lnTo>
                    <a:pt x="593" y="391"/>
                  </a:lnTo>
                  <a:lnTo>
                    <a:pt x="591" y="395"/>
                  </a:lnTo>
                  <a:lnTo>
                    <a:pt x="587" y="397"/>
                  </a:lnTo>
                  <a:lnTo>
                    <a:pt x="585" y="401"/>
                  </a:lnTo>
                  <a:lnTo>
                    <a:pt x="584" y="402"/>
                  </a:lnTo>
                  <a:lnTo>
                    <a:pt x="584" y="404"/>
                  </a:lnTo>
                  <a:lnTo>
                    <a:pt x="587" y="404"/>
                  </a:lnTo>
                  <a:lnTo>
                    <a:pt x="589" y="405"/>
                  </a:lnTo>
                  <a:lnTo>
                    <a:pt x="593" y="406"/>
                  </a:lnTo>
                  <a:lnTo>
                    <a:pt x="596" y="406"/>
                  </a:lnTo>
                  <a:lnTo>
                    <a:pt x="598" y="402"/>
                  </a:lnTo>
                  <a:lnTo>
                    <a:pt x="601" y="400"/>
                  </a:lnTo>
                  <a:lnTo>
                    <a:pt x="605" y="397"/>
                  </a:lnTo>
                  <a:lnTo>
                    <a:pt x="607" y="404"/>
                  </a:lnTo>
                  <a:lnTo>
                    <a:pt x="606" y="411"/>
                  </a:lnTo>
                  <a:lnTo>
                    <a:pt x="601" y="418"/>
                  </a:lnTo>
                  <a:lnTo>
                    <a:pt x="596" y="424"/>
                  </a:lnTo>
                  <a:lnTo>
                    <a:pt x="585" y="431"/>
                  </a:lnTo>
                  <a:lnTo>
                    <a:pt x="571" y="433"/>
                  </a:lnTo>
                  <a:lnTo>
                    <a:pt x="553" y="432"/>
                  </a:lnTo>
                  <a:lnTo>
                    <a:pt x="549" y="442"/>
                  </a:lnTo>
                  <a:lnTo>
                    <a:pt x="542" y="454"/>
                  </a:lnTo>
                  <a:lnTo>
                    <a:pt x="534" y="464"/>
                  </a:lnTo>
                  <a:lnTo>
                    <a:pt x="529" y="471"/>
                  </a:lnTo>
                  <a:lnTo>
                    <a:pt x="536" y="449"/>
                  </a:lnTo>
                  <a:lnTo>
                    <a:pt x="533" y="455"/>
                  </a:lnTo>
                  <a:lnTo>
                    <a:pt x="526" y="470"/>
                  </a:lnTo>
                  <a:lnTo>
                    <a:pt x="518" y="481"/>
                  </a:lnTo>
                  <a:lnTo>
                    <a:pt x="509" y="490"/>
                  </a:lnTo>
                  <a:lnTo>
                    <a:pt x="518" y="471"/>
                  </a:lnTo>
                  <a:lnTo>
                    <a:pt x="518" y="464"/>
                  </a:lnTo>
                  <a:lnTo>
                    <a:pt x="505" y="477"/>
                  </a:lnTo>
                  <a:lnTo>
                    <a:pt x="499" y="493"/>
                  </a:lnTo>
                  <a:lnTo>
                    <a:pt x="491" y="506"/>
                  </a:lnTo>
                  <a:lnTo>
                    <a:pt x="485" y="516"/>
                  </a:lnTo>
                  <a:lnTo>
                    <a:pt x="485" y="504"/>
                  </a:lnTo>
                  <a:lnTo>
                    <a:pt x="478" y="519"/>
                  </a:lnTo>
                  <a:lnTo>
                    <a:pt x="469" y="530"/>
                  </a:lnTo>
                  <a:lnTo>
                    <a:pt x="478" y="510"/>
                  </a:lnTo>
                  <a:lnTo>
                    <a:pt x="475" y="516"/>
                  </a:lnTo>
                  <a:lnTo>
                    <a:pt x="469" y="521"/>
                  </a:lnTo>
                  <a:lnTo>
                    <a:pt x="476" y="510"/>
                  </a:lnTo>
                  <a:lnTo>
                    <a:pt x="473" y="512"/>
                  </a:lnTo>
                  <a:lnTo>
                    <a:pt x="468" y="519"/>
                  </a:lnTo>
                  <a:lnTo>
                    <a:pt x="464" y="525"/>
                  </a:lnTo>
                  <a:lnTo>
                    <a:pt x="459" y="532"/>
                  </a:lnTo>
                  <a:lnTo>
                    <a:pt x="462" y="521"/>
                  </a:lnTo>
                  <a:lnTo>
                    <a:pt x="460" y="523"/>
                  </a:lnTo>
                  <a:lnTo>
                    <a:pt x="456" y="528"/>
                  </a:lnTo>
                  <a:lnTo>
                    <a:pt x="453" y="533"/>
                  </a:lnTo>
                  <a:lnTo>
                    <a:pt x="449" y="537"/>
                  </a:lnTo>
                  <a:lnTo>
                    <a:pt x="445" y="541"/>
                  </a:lnTo>
                  <a:lnTo>
                    <a:pt x="442" y="543"/>
                  </a:lnTo>
                  <a:lnTo>
                    <a:pt x="451" y="529"/>
                  </a:lnTo>
                  <a:lnTo>
                    <a:pt x="442" y="534"/>
                  </a:lnTo>
                  <a:lnTo>
                    <a:pt x="438" y="541"/>
                  </a:lnTo>
                  <a:lnTo>
                    <a:pt x="433" y="547"/>
                  </a:lnTo>
                  <a:lnTo>
                    <a:pt x="438" y="537"/>
                  </a:lnTo>
                  <a:lnTo>
                    <a:pt x="435" y="539"/>
                  </a:lnTo>
                  <a:lnTo>
                    <a:pt x="435" y="538"/>
                  </a:lnTo>
                  <a:lnTo>
                    <a:pt x="429" y="544"/>
                  </a:lnTo>
                  <a:lnTo>
                    <a:pt x="426" y="551"/>
                  </a:lnTo>
                  <a:lnTo>
                    <a:pt x="432" y="539"/>
                  </a:lnTo>
                  <a:lnTo>
                    <a:pt x="431" y="541"/>
                  </a:lnTo>
                  <a:lnTo>
                    <a:pt x="419" y="548"/>
                  </a:lnTo>
                  <a:lnTo>
                    <a:pt x="418" y="554"/>
                  </a:lnTo>
                  <a:lnTo>
                    <a:pt x="418" y="555"/>
                  </a:lnTo>
                  <a:lnTo>
                    <a:pt x="418" y="556"/>
                  </a:lnTo>
                  <a:lnTo>
                    <a:pt x="418" y="564"/>
                  </a:lnTo>
                  <a:lnTo>
                    <a:pt x="418" y="566"/>
                  </a:lnTo>
                  <a:lnTo>
                    <a:pt x="417" y="579"/>
                  </a:lnTo>
                  <a:lnTo>
                    <a:pt x="414" y="594"/>
                  </a:lnTo>
                  <a:lnTo>
                    <a:pt x="409" y="608"/>
                  </a:lnTo>
                  <a:lnTo>
                    <a:pt x="404" y="619"/>
                  </a:lnTo>
                  <a:lnTo>
                    <a:pt x="402" y="622"/>
                  </a:lnTo>
                  <a:lnTo>
                    <a:pt x="401" y="625"/>
                  </a:lnTo>
                  <a:lnTo>
                    <a:pt x="398" y="630"/>
                  </a:lnTo>
                  <a:lnTo>
                    <a:pt x="397" y="636"/>
                  </a:lnTo>
                  <a:lnTo>
                    <a:pt x="395" y="640"/>
                  </a:lnTo>
                  <a:lnTo>
                    <a:pt x="409" y="663"/>
                  </a:lnTo>
                  <a:lnTo>
                    <a:pt x="400" y="639"/>
                  </a:lnTo>
                  <a:lnTo>
                    <a:pt x="409" y="658"/>
                  </a:lnTo>
                  <a:lnTo>
                    <a:pt x="418" y="677"/>
                  </a:lnTo>
                  <a:lnTo>
                    <a:pt x="426" y="688"/>
                  </a:lnTo>
                  <a:lnTo>
                    <a:pt x="420" y="681"/>
                  </a:lnTo>
                  <a:lnTo>
                    <a:pt x="423" y="687"/>
                  </a:lnTo>
                  <a:lnTo>
                    <a:pt x="426" y="689"/>
                  </a:lnTo>
                  <a:lnTo>
                    <a:pt x="426" y="688"/>
                  </a:lnTo>
                  <a:lnTo>
                    <a:pt x="427" y="689"/>
                  </a:lnTo>
                  <a:lnTo>
                    <a:pt x="428" y="690"/>
                  </a:lnTo>
                  <a:lnTo>
                    <a:pt x="428" y="690"/>
                  </a:lnTo>
                  <a:lnTo>
                    <a:pt x="429" y="690"/>
                  </a:lnTo>
                  <a:lnTo>
                    <a:pt x="429" y="690"/>
                  </a:lnTo>
                  <a:lnTo>
                    <a:pt x="429" y="690"/>
                  </a:lnTo>
                  <a:lnTo>
                    <a:pt x="429" y="692"/>
                  </a:lnTo>
                  <a:lnTo>
                    <a:pt x="431" y="693"/>
                  </a:lnTo>
                  <a:lnTo>
                    <a:pt x="556" y="583"/>
                  </a:lnTo>
                  <a:lnTo>
                    <a:pt x="606" y="510"/>
                  </a:lnTo>
                  <a:lnTo>
                    <a:pt x="618" y="490"/>
                  </a:lnTo>
                  <a:lnTo>
                    <a:pt x="628" y="472"/>
                  </a:lnTo>
                  <a:lnTo>
                    <a:pt x="640" y="452"/>
                  </a:lnTo>
                  <a:lnTo>
                    <a:pt x="655" y="430"/>
                  </a:lnTo>
                  <a:lnTo>
                    <a:pt x="674" y="406"/>
                  </a:lnTo>
                  <a:lnTo>
                    <a:pt x="661" y="433"/>
                  </a:lnTo>
                  <a:lnTo>
                    <a:pt x="647" y="459"/>
                  </a:lnTo>
                  <a:lnTo>
                    <a:pt x="634" y="482"/>
                  </a:lnTo>
                  <a:lnTo>
                    <a:pt x="623" y="506"/>
                  </a:lnTo>
                  <a:lnTo>
                    <a:pt x="612" y="532"/>
                  </a:lnTo>
                  <a:lnTo>
                    <a:pt x="602" y="556"/>
                  </a:lnTo>
                  <a:lnTo>
                    <a:pt x="605" y="551"/>
                  </a:lnTo>
                  <a:lnTo>
                    <a:pt x="601" y="556"/>
                  </a:lnTo>
                  <a:lnTo>
                    <a:pt x="601" y="557"/>
                  </a:lnTo>
                  <a:lnTo>
                    <a:pt x="598" y="561"/>
                  </a:lnTo>
                  <a:lnTo>
                    <a:pt x="596" y="566"/>
                  </a:lnTo>
                  <a:lnTo>
                    <a:pt x="593" y="572"/>
                  </a:lnTo>
                  <a:lnTo>
                    <a:pt x="606" y="564"/>
                  </a:lnTo>
                  <a:lnTo>
                    <a:pt x="619" y="557"/>
                  </a:lnTo>
                  <a:lnTo>
                    <a:pt x="632" y="555"/>
                  </a:lnTo>
                  <a:lnTo>
                    <a:pt x="614" y="573"/>
                  </a:lnTo>
                  <a:lnTo>
                    <a:pt x="594" y="592"/>
                  </a:lnTo>
                  <a:lnTo>
                    <a:pt x="588" y="600"/>
                  </a:lnTo>
                  <a:lnTo>
                    <a:pt x="582" y="608"/>
                  </a:lnTo>
                  <a:lnTo>
                    <a:pt x="597" y="609"/>
                  </a:lnTo>
                  <a:lnTo>
                    <a:pt x="611" y="609"/>
                  </a:lnTo>
                  <a:lnTo>
                    <a:pt x="625" y="606"/>
                  </a:lnTo>
                  <a:lnTo>
                    <a:pt x="642" y="604"/>
                  </a:lnTo>
                  <a:lnTo>
                    <a:pt x="660" y="599"/>
                  </a:lnTo>
                  <a:lnTo>
                    <a:pt x="683" y="591"/>
                  </a:lnTo>
                  <a:lnTo>
                    <a:pt x="747" y="570"/>
                  </a:lnTo>
                  <a:lnTo>
                    <a:pt x="730" y="582"/>
                  </a:lnTo>
                  <a:lnTo>
                    <a:pt x="709" y="591"/>
                  </a:lnTo>
                  <a:lnTo>
                    <a:pt x="689" y="600"/>
                  </a:lnTo>
                  <a:lnTo>
                    <a:pt x="670" y="606"/>
                  </a:lnTo>
                  <a:lnTo>
                    <a:pt x="652" y="613"/>
                  </a:lnTo>
                  <a:lnTo>
                    <a:pt x="634" y="618"/>
                  </a:lnTo>
                  <a:lnTo>
                    <a:pt x="616" y="622"/>
                  </a:lnTo>
                  <a:lnTo>
                    <a:pt x="603" y="623"/>
                  </a:lnTo>
                  <a:lnTo>
                    <a:pt x="589" y="623"/>
                  </a:lnTo>
                  <a:lnTo>
                    <a:pt x="542" y="636"/>
                  </a:lnTo>
                  <a:lnTo>
                    <a:pt x="441" y="715"/>
                  </a:lnTo>
                  <a:lnTo>
                    <a:pt x="444" y="724"/>
                  </a:lnTo>
                  <a:lnTo>
                    <a:pt x="446" y="736"/>
                  </a:lnTo>
                  <a:lnTo>
                    <a:pt x="449" y="746"/>
                  </a:lnTo>
                  <a:lnTo>
                    <a:pt x="447" y="754"/>
                  </a:lnTo>
                  <a:lnTo>
                    <a:pt x="449" y="765"/>
                  </a:lnTo>
                  <a:lnTo>
                    <a:pt x="447" y="776"/>
                  </a:lnTo>
                  <a:lnTo>
                    <a:pt x="444" y="779"/>
                  </a:lnTo>
                  <a:lnTo>
                    <a:pt x="438" y="782"/>
                  </a:lnTo>
                  <a:lnTo>
                    <a:pt x="438" y="782"/>
                  </a:lnTo>
                  <a:lnTo>
                    <a:pt x="437" y="783"/>
                  </a:lnTo>
                  <a:lnTo>
                    <a:pt x="427" y="787"/>
                  </a:lnTo>
                  <a:lnTo>
                    <a:pt x="415" y="790"/>
                  </a:lnTo>
                  <a:lnTo>
                    <a:pt x="405" y="791"/>
                  </a:lnTo>
                  <a:lnTo>
                    <a:pt x="396" y="789"/>
                  </a:lnTo>
                  <a:lnTo>
                    <a:pt x="393" y="789"/>
                  </a:lnTo>
                  <a:lnTo>
                    <a:pt x="392" y="789"/>
                  </a:lnTo>
                  <a:lnTo>
                    <a:pt x="387" y="783"/>
                  </a:lnTo>
                  <a:lnTo>
                    <a:pt x="382" y="777"/>
                  </a:lnTo>
                  <a:lnTo>
                    <a:pt x="375" y="781"/>
                  </a:lnTo>
                  <a:lnTo>
                    <a:pt x="382" y="795"/>
                  </a:lnTo>
                  <a:lnTo>
                    <a:pt x="393" y="829"/>
                  </a:lnTo>
                  <a:lnTo>
                    <a:pt x="396" y="836"/>
                  </a:lnTo>
                  <a:lnTo>
                    <a:pt x="398" y="845"/>
                  </a:lnTo>
                  <a:lnTo>
                    <a:pt x="400" y="851"/>
                  </a:lnTo>
                  <a:lnTo>
                    <a:pt x="402" y="861"/>
                  </a:lnTo>
                  <a:lnTo>
                    <a:pt x="402" y="865"/>
                  </a:lnTo>
                  <a:lnTo>
                    <a:pt x="404" y="870"/>
                  </a:lnTo>
                  <a:lnTo>
                    <a:pt x="405" y="876"/>
                  </a:lnTo>
                  <a:lnTo>
                    <a:pt x="405" y="887"/>
                  </a:lnTo>
                  <a:lnTo>
                    <a:pt x="405" y="894"/>
                  </a:lnTo>
                  <a:lnTo>
                    <a:pt x="405" y="897"/>
                  </a:lnTo>
                  <a:lnTo>
                    <a:pt x="404" y="897"/>
                  </a:lnTo>
                  <a:lnTo>
                    <a:pt x="405" y="900"/>
                  </a:lnTo>
                  <a:lnTo>
                    <a:pt x="405" y="901"/>
                  </a:lnTo>
                  <a:lnTo>
                    <a:pt x="405" y="902"/>
                  </a:lnTo>
                  <a:lnTo>
                    <a:pt x="405" y="901"/>
                  </a:lnTo>
                  <a:lnTo>
                    <a:pt x="405" y="914"/>
                  </a:lnTo>
                  <a:lnTo>
                    <a:pt x="404" y="924"/>
                  </a:lnTo>
                  <a:lnTo>
                    <a:pt x="404" y="927"/>
                  </a:lnTo>
                  <a:lnTo>
                    <a:pt x="404" y="932"/>
                  </a:lnTo>
                  <a:lnTo>
                    <a:pt x="402" y="937"/>
                  </a:lnTo>
                  <a:lnTo>
                    <a:pt x="404" y="936"/>
                  </a:lnTo>
                  <a:lnTo>
                    <a:pt x="404" y="937"/>
                  </a:lnTo>
                  <a:lnTo>
                    <a:pt x="404" y="940"/>
                  </a:lnTo>
                  <a:lnTo>
                    <a:pt x="404" y="943"/>
                  </a:lnTo>
                  <a:lnTo>
                    <a:pt x="404" y="946"/>
                  </a:lnTo>
                  <a:lnTo>
                    <a:pt x="404" y="950"/>
                  </a:lnTo>
                  <a:lnTo>
                    <a:pt x="404" y="950"/>
                  </a:lnTo>
                  <a:lnTo>
                    <a:pt x="404" y="950"/>
                  </a:lnTo>
                  <a:lnTo>
                    <a:pt x="402" y="955"/>
                  </a:lnTo>
                  <a:lnTo>
                    <a:pt x="401" y="959"/>
                  </a:lnTo>
                  <a:lnTo>
                    <a:pt x="398" y="963"/>
                  </a:lnTo>
                  <a:lnTo>
                    <a:pt x="396" y="967"/>
                  </a:lnTo>
                  <a:lnTo>
                    <a:pt x="395" y="974"/>
                  </a:lnTo>
                  <a:lnTo>
                    <a:pt x="392" y="982"/>
                  </a:lnTo>
                  <a:lnTo>
                    <a:pt x="386" y="1008"/>
                  </a:lnTo>
                  <a:lnTo>
                    <a:pt x="383" y="1016"/>
                  </a:lnTo>
                  <a:lnTo>
                    <a:pt x="383" y="1022"/>
                  </a:lnTo>
                  <a:lnTo>
                    <a:pt x="380" y="1038"/>
                  </a:lnTo>
                  <a:lnTo>
                    <a:pt x="377" y="1071"/>
                  </a:lnTo>
                  <a:lnTo>
                    <a:pt x="370" y="1107"/>
                  </a:lnTo>
                  <a:lnTo>
                    <a:pt x="368" y="1117"/>
                  </a:lnTo>
                  <a:lnTo>
                    <a:pt x="365" y="1126"/>
                  </a:lnTo>
                  <a:lnTo>
                    <a:pt x="359" y="1142"/>
                  </a:lnTo>
                  <a:lnTo>
                    <a:pt x="351" y="1175"/>
                  </a:lnTo>
                  <a:lnTo>
                    <a:pt x="346" y="1204"/>
                  </a:lnTo>
                  <a:lnTo>
                    <a:pt x="346" y="1228"/>
                  </a:lnTo>
                  <a:lnTo>
                    <a:pt x="346" y="1228"/>
                  </a:lnTo>
                  <a:lnTo>
                    <a:pt x="346" y="1228"/>
                  </a:lnTo>
                  <a:lnTo>
                    <a:pt x="346" y="1255"/>
                  </a:lnTo>
                  <a:lnTo>
                    <a:pt x="352" y="1268"/>
                  </a:lnTo>
                  <a:lnTo>
                    <a:pt x="356" y="1277"/>
                  </a:lnTo>
                  <a:lnTo>
                    <a:pt x="362" y="1282"/>
                  </a:lnTo>
                  <a:lnTo>
                    <a:pt x="370" y="1288"/>
                  </a:lnTo>
                  <a:lnTo>
                    <a:pt x="375" y="1293"/>
                  </a:lnTo>
                  <a:lnTo>
                    <a:pt x="382" y="1299"/>
                  </a:lnTo>
                  <a:lnTo>
                    <a:pt x="387" y="1302"/>
                  </a:lnTo>
                  <a:lnTo>
                    <a:pt x="389" y="1306"/>
                  </a:lnTo>
                  <a:lnTo>
                    <a:pt x="397" y="1309"/>
                  </a:lnTo>
                  <a:lnTo>
                    <a:pt x="419" y="1318"/>
                  </a:lnTo>
                  <a:lnTo>
                    <a:pt x="429" y="1321"/>
                  </a:lnTo>
                  <a:lnTo>
                    <a:pt x="440" y="1324"/>
                  </a:lnTo>
                  <a:lnTo>
                    <a:pt x="447" y="1330"/>
                  </a:lnTo>
                  <a:lnTo>
                    <a:pt x="450" y="1331"/>
                  </a:lnTo>
                  <a:lnTo>
                    <a:pt x="451" y="1332"/>
                  </a:lnTo>
                  <a:lnTo>
                    <a:pt x="453" y="1332"/>
                  </a:lnTo>
                  <a:lnTo>
                    <a:pt x="451" y="1332"/>
                  </a:lnTo>
                  <a:lnTo>
                    <a:pt x="449" y="1331"/>
                  </a:lnTo>
                  <a:lnTo>
                    <a:pt x="451" y="1335"/>
                  </a:lnTo>
                  <a:lnTo>
                    <a:pt x="451" y="1335"/>
                  </a:lnTo>
                  <a:lnTo>
                    <a:pt x="451" y="1333"/>
                  </a:lnTo>
                  <a:lnTo>
                    <a:pt x="450" y="1332"/>
                  </a:lnTo>
                  <a:lnTo>
                    <a:pt x="450" y="1332"/>
                  </a:lnTo>
                  <a:lnTo>
                    <a:pt x="451" y="1332"/>
                  </a:lnTo>
                  <a:lnTo>
                    <a:pt x="453" y="1333"/>
                  </a:lnTo>
                  <a:lnTo>
                    <a:pt x="455" y="1336"/>
                  </a:lnTo>
                  <a:lnTo>
                    <a:pt x="458" y="1339"/>
                  </a:lnTo>
                  <a:lnTo>
                    <a:pt x="459" y="1343"/>
                  </a:lnTo>
                  <a:lnTo>
                    <a:pt x="459" y="1346"/>
                  </a:lnTo>
                  <a:lnTo>
                    <a:pt x="458" y="1349"/>
                  </a:lnTo>
                  <a:lnTo>
                    <a:pt x="456" y="1353"/>
                  </a:lnTo>
                  <a:lnTo>
                    <a:pt x="454" y="1355"/>
                  </a:lnTo>
                  <a:lnTo>
                    <a:pt x="451" y="1357"/>
                  </a:lnTo>
                  <a:lnTo>
                    <a:pt x="449" y="1358"/>
                  </a:lnTo>
                  <a:lnTo>
                    <a:pt x="446" y="1358"/>
                  </a:lnTo>
                  <a:lnTo>
                    <a:pt x="442" y="1361"/>
                  </a:lnTo>
                  <a:lnTo>
                    <a:pt x="442" y="1361"/>
                  </a:lnTo>
                  <a:lnTo>
                    <a:pt x="436" y="1364"/>
                  </a:lnTo>
                  <a:lnTo>
                    <a:pt x="433" y="1366"/>
                  </a:lnTo>
                  <a:lnTo>
                    <a:pt x="429" y="1367"/>
                  </a:lnTo>
                  <a:lnTo>
                    <a:pt x="426" y="1368"/>
                  </a:lnTo>
                  <a:lnTo>
                    <a:pt x="420" y="1370"/>
                  </a:lnTo>
                  <a:lnTo>
                    <a:pt x="415" y="1368"/>
                  </a:lnTo>
                  <a:lnTo>
                    <a:pt x="411" y="1367"/>
                  </a:lnTo>
                  <a:lnTo>
                    <a:pt x="410" y="1368"/>
                  </a:lnTo>
                  <a:lnTo>
                    <a:pt x="406" y="1371"/>
                  </a:lnTo>
                  <a:lnTo>
                    <a:pt x="401" y="1372"/>
                  </a:lnTo>
                  <a:lnTo>
                    <a:pt x="395" y="1372"/>
                  </a:lnTo>
                  <a:lnTo>
                    <a:pt x="388" y="1372"/>
                  </a:lnTo>
                  <a:lnTo>
                    <a:pt x="388" y="1372"/>
                  </a:lnTo>
                  <a:lnTo>
                    <a:pt x="386" y="1372"/>
                  </a:lnTo>
                  <a:lnTo>
                    <a:pt x="374" y="1371"/>
                  </a:lnTo>
                  <a:lnTo>
                    <a:pt x="361" y="1367"/>
                  </a:lnTo>
                  <a:lnTo>
                    <a:pt x="353" y="1363"/>
                  </a:lnTo>
                  <a:lnTo>
                    <a:pt x="348" y="1359"/>
                  </a:lnTo>
                  <a:lnTo>
                    <a:pt x="343" y="1357"/>
                  </a:lnTo>
                  <a:lnTo>
                    <a:pt x="329" y="1354"/>
                  </a:lnTo>
                  <a:lnTo>
                    <a:pt x="324" y="1354"/>
                  </a:lnTo>
                  <a:lnTo>
                    <a:pt x="326" y="1354"/>
                  </a:lnTo>
                  <a:lnTo>
                    <a:pt x="328" y="1355"/>
                  </a:lnTo>
                  <a:lnTo>
                    <a:pt x="326" y="1355"/>
                  </a:lnTo>
                  <a:lnTo>
                    <a:pt x="325" y="1354"/>
                  </a:lnTo>
                  <a:lnTo>
                    <a:pt x="322" y="1354"/>
                  </a:lnTo>
                  <a:lnTo>
                    <a:pt x="312" y="1355"/>
                  </a:lnTo>
                  <a:lnTo>
                    <a:pt x="302" y="1355"/>
                  </a:lnTo>
                  <a:lnTo>
                    <a:pt x="298" y="1355"/>
                  </a:lnTo>
                  <a:lnTo>
                    <a:pt x="290" y="1357"/>
                  </a:lnTo>
                  <a:lnTo>
                    <a:pt x="282" y="1357"/>
                  </a:lnTo>
                  <a:lnTo>
                    <a:pt x="275" y="1358"/>
                  </a:lnTo>
                  <a:lnTo>
                    <a:pt x="264" y="1357"/>
                  </a:lnTo>
                  <a:lnTo>
                    <a:pt x="261" y="1357"/>
                  </a:lnTo>
                  <a:lnTo>
                    <a:pt x="255" y="1355"/>
                  </a:lnTo>
                  <a:lnTo>
                    <a:pt x="250" y="1353"/>
                  </a:lnTo>
                  <a:lnTo>
                    <a:pt x="246" y="1350"/>
                  </a:lnTo>
                  <a:lnTo>
                    <a:pt x="244" y="1346"/>
                  </a:lnTo>
                  <a:lnTo>
                    <a:pt x="242" y="1344"/>
                  </a:lnTo>
                  <a:lnTo>
                    <a:pt x="240" y="1340"/>
                  </a:lnTo>
                  <a:lnTo>
                    <a:pt x="239" y="1336"/>
                  </a:lnTo>
                  <a:lnTo>
                    <a:pt x="240" y="1336"/>
                  </a:lnTo>
                  <a:lnTo>
                    <a:pt x="240" y="1330"/>
                  </a:lnTo>
                  <a:lnTo>
                    <a:pt x="240" y="1324"/>
                  </a:lnTo>
                  <a:lnTo>
                    <a:pt x="240" y="1324"/>
                  </a:lnTo>
                  <a:lnTo>
                    <a:pt x="240" y="1318"/>
                  </a:lnTo>
                  <a:lnTo>
                    <a:pt x="241" y="1312"/>
                  </a:lnTo>
                  <a:lnTo>
                    <a:pt x="244" y="1305"/>
                  </a:lnTo>
                  <a:lnTo>
                    <a:pt x="246" y="1297"/>
                  </a:lnTo>
                  <a:lnTo>
                    <a:pt x="250" y="1291"/>
                  </a:lnTo>
                  <a:lnTo>
                    <a:pt x="258" y="1275"/>
                  </a:lnTo>
                  <a:lnTo>
                    <a:pt x="264" y="1261"/>
                  </a:lnTo>
                  <a:lnTo>
                    <a:pt x="268" y="1256"/>
                  </a:lnTo>
                  <a:lnTo>
                    <a:pt x="270" y="1250"/>
                  </a:lnTo>
                  <a:lnTo>
                    <a:pt x="272" y="1244"/>
                  </a:lnTo>
                  <a:lnTo>
                    <a:pt x="273" y="1238"/>
                  </a:lnTo>
                  <a:lnTo>
                    <a:pt x="275" y="1221"/>
                  </a:lnTo>
                  <a:lnTo>
                    <a:pt x="277" y="1199"/>
                  </a:lnTo>
                  <a:lnTo>
                    <a:pt x="279" y="1172"/>
                  </a:lnTo>
                  <a:lnTo>
                    <a:pt x="279" y="1141"/>
                  </a:lnTo>
                  <a:lnTo>
                    <a:pt x="279" y="1106"/>
                  </a:lnTo>
                  <a:lnTo>
                    <a:pt x="277" y="1097"/>
                  </a:lnTo>
                  <a:lnTo>
                    <a:pt x="276" y="1098"/>
                  </a:lnTo>
                  <a:lnTo>
                    <a:pt x="275" y="1100"/>
                  </a:lnTo>
                  <a:lnTo>
                    <a:pt x="275" y="1100"/>
                  </a:lnTo>
                  <a:lnTo>
                    <a:pt x="275" y="1100"/>
                  </a:lnTo>
                  <a:lnTo>
                    <a:pt x="272" y="1105"/>
                  </a:lnTo>
                  <a:lnTo>
                    <a:pt x="271" y="1109"/>
                  </a:lnTo>
                  <a:lnTo>
                    <a:pt x="268" y="1111"/>
                  </a:lnTo>
                  <a:lnTo>
                    <a:pt x="267" y="1113"/>
                  </a:lnTo>
                  <a:lnTo>
                    <a:pt x="267" y="1113"/>
                  </a:lnTo>
                  <a:lnTo>
                    <a:pt x="268" y="1107"/>
                  </a:lnTo>
                  <a:lnTo>
                    <a:pt x="271" y="1096"/>
                  </a:lnTo>
                  <a:lnTo>
                    <a:pt x="268" y="1098"/>
                  </a:lnTo>
                  <a:lnTo>
                    <a:pt x="268" y="1101"/>
                  </a:lnTo>
                  <a:lnTo>
                    <a:pt x="268" y="1104"/>
                  </a:lnTo>
                  <a:lnTo>
                    <a:pt x="268" y="1105"/>
                  </a:lnTo>
                  <a:lnTo>
                    <a:pt x="267" y="1100"/>
                  </a:lnTo>
                  <a:lnTo>
                    <a:pt x="267" y="1100"/>
                  </a:lnTo>
                  <a:lnTo>
                    <a:pt x="264" y="1105"/>
                  </a:lnTo>
                  <a:lnTo>
                    <a:pt x="262" y="1107"/>
                  </a:lnTo>
                  <a:lnTo>
                    <a:pt x="259" y="1109"/>
                  </a:lnTo>
                  <a:lnTo>
                    <a:pt x="259" y="1110"/>
                  </a:lnTo>
                  <a:lnTo>
                    <a:pt x="258" y="1110"/>
                  </a:lnTo>
                  <a:lnTo>
                    <a:pt x="258" y="1110"/>
                  </a:lnTo>
                  <a:lnTo>
                    <a:pt x="259" y="1109"/>
                  </a:lnTo>
                  <a:lnTo>
                    <a:pt x="259" y="1106"/>
                  </a:lnTo>
                  <a:lnTo>
                    <a:pt x="259" y="1105"/>
                  </a:lnTo>
                  <a:lnTo>
                    <a:pt x="258" y="1106"/>
                  </a:lnTo>
                  <a:lnTo>
                    <a:pt x="257" y="1107"/>
                  </a:lnTo>
                  <a:lnTo>
                    <a:pt x="254" y="1111"/>
                  </a:lnTo>
                  <a:lnTo>
                    <a:pt x="252" y="1115"/>
                  </a:lnTo>
                  <a:lnTo>
                    <a:pt x="250" y="1119"/>
                  </a:lnTo>
                  <a:lnTo>
                    <a:pt x="248" y="1122"/>
                  </a:lnTo>
                  <a:lnTo>
                    <a:pt x="246" y="1123"/>
                  </a:lnTo>
                  <a:lnTo>
                    <a:pt x="246" y="1123"/>
                  </a:lnTo>
                  <a:lnTo>
                    <a:pt x="246" y="1122"/>
                  </a:lnTo>
                  <a:lnTo>
                    <a:pt x="246" y="1119"/>
                  </a:lnTo>
                  <a:lnTo>
                    <a:pt x="248" y="1115"/>
                  </a:lnTo>
                  <a:lnTo>
                    <a:pt x="250" y="1110"/>
                  </a:lnTo>
                  <a:lnTo>
                    <a:pt x="253" y="1105"/>
                  </a:lnTo>
                  <a:lnTo>
                    <a:pt x="253" y="1105"/>
                  </a:lnTo>
                  <a:lnTo>
                    <a:pt x="253" y="1105"/>
                  </a:lnTo>
                  <a:lnTo>
                    <a:pt x="252" y="1106"/>
                  </a:lnTo>
                  <a:lnTo>
                    <a:pt x="249" y="1111"/>
                  </a:lnTo>
                  <a:lnTo>
                    <a:pt x="245" y="1118"/>
                  </a:lnTo>
                  <a:lnTo>
                    <a:pt x="242" y="1123"/>
                  </a:lnTo>
                  <a:lnTo>
                    <a:pt x="240" y="1127"/>
                  </a:lnTo>
                  <a:lnTo>
                    <a:pt x="239" y="1131"/>
                  </a:lnTo>
                  <a:lnTo>
                    <a:pt x="237" y="1133"/>
                  </a:lnTo>
                  <a:lnTo>
                    <a:pt x="236" y="1135"/>
                  </a:lnTo>
                  <a:lnTo>
                    <a:pt x="235" y="1136"/>
                  </a:lnTo>
                  <a:lnTo>
                    <a:pt x="235" y="1135"/>
                  </a:lnTo>
                  <a:lnTo>
                    <a:pt x="236" y="1132"/>
                  </a:lnTo>
                  <a:lnTo>
                    <a:pt x="236" y="1128"/>
                  </a:lnTo>
                  <a:lnTo>
                    <a:pt x="237" y="1123"/>
                  </a:lnTo>
                  <a:lnTo>
                    <a:pt x="235" y="1129"/>
                  </a:lnTo>
                  <a:lnTo>
                    <a:pt x="231" y="1135"/>
                  </a:lnTo>
                  <a:lnTo>
                    <a:pt x="228" y="1140"/>
                  </a:lnTo>
                  <a:lnTo>
                    <a:pt x="227" y="1142"/>
                  </a:lnTo>
                  <a:lnTo>
                    <a:pt x="226" y="1144"/>
                  </a:lnTo>
                  <a:lnTo>
                    <a:pt x="224" y="1144"/>
                  </a:lnTo>
                  <a:lnTo>
                    <a:pt x="224" y="1144"/>
                  </a:lnTo>
                  <a:lnTo>
                    <a:pt x="226" y="1141"/>
                  </a:lnTo>
                  <a:lnTo>
                    <a:pt x="226" y="1138"/>
                  </a:lnTo>
                  <a:lnTo>
                    <a:pt x="227" y="1135"/>
                  </a:lnTo>
                  <a:lnTo>
                    <a:pt x="228" y="1131"/>
                  </a:lnTo>
                  <a:lnTo>
                    <a:pt x="231" y="1127"/>
                  </a:lnTo>
                  <a:lnTo>
                    <a:pt x="233" y="1122"/>
                  </a:lnTo>
                  <a:lnTo>
                    <a:pt x="231" y="1122"/>
                  </a:lnTo>
                  <a:lnTo>
                    <a:pt x="228" y="1127"/>
                  </a:lnTo>
                  <a:lnTo>
                    <a:pt x="226" y="1132"/>
                  </a:lnTo>
                  <a:lnTo>
                    <a:pt x="223" y="1140"/>
                  </a:lnTo>
                  <a:lnTo>
                    <a:pt x="221" y="1144"/>
                  </a:lnTo>
                  <a:lnTo>
                    <a:pt x="218" y="1149"/>
                  </a:lnTo>
                  <a:lnTo>
                    <a:pt x="215" y="1151"/>
                  </a:lnTo>
                  <a:lnTo>
                    <a:pt x="214" y="1154"/>
                  </a:lnTo>
                  <a:lnTo>
                    <a:pt x="213" y="1157"/>
                  </a:lnTo>
                  <a:lnTo>
                    <a:pt x="213" y="1157"/>
                  </a:lnTo>
                  <a:lnTo>
                    <a:pt x="213" y="1155"/>
                  </a:lnTo>
                  <a:lnTo>
                    <a:pt x="213" y="1154"/>
                  </a:lnTo>
                  <a:lnTo>
                    <a:pt x="214" y="1150"/>
                  </a:lnTo>
                  <a:lnTo>
                    <a:pt x="214" y="1148"/>
                  </a:lnTo>
                  <a:lnTo>
                    <a:pt x="209" y="1154"/>
                  </a:lnTo>
                  <a:lnTo>
                    <a:pt x="204" y="1160"/>
                  </a:lnTo>
                  <a:lnTo>
                    <a:pt x="200" y="1166"/>
                  </a:lnTo>
                  <a:lnTo>
                    <a:pt x="199" y="1168"/>
                  </a:lnTo>
                  <a:lnTo>
                    <a:pt x="197" y="1169"/>
                  </a:lnTo>
                  <a:lnTo>
                    <a:pt x="196" y="1171"/>
                  </a:lnTo>
                  <a:lnTo>
                    <a:pt x="196" y="1171"/>
                  </a:lnTo>
                  <a:lnTo>
                    <a:pt x="197" y="1167"/>
                  </a:lnTo>
                  <a:lnTo>
                    <a:pt x="194" y="1169"/>
                  </a:lnTo>
                  <a:lnTo>
                    <a:pt x="188" y="1172"/>
                  </a:lnTo>
                  <a:lnTo>
                    <a:pt x="187" y="1175"/>
                  </a:lnTo>
                  <a:lnTo>
                    <a:pt x="187" y="1176"/>
                  </a:lnTo>
                  <a:lnTo>
                    <a:pt x="187" y="1175"/>
                  </a:lnTo>
                  <a:lnTo>
                    <a:pt x="187" y="1176"/>
                  </a:lnTo>
                  <a:lnTo>
                    <a:pt x="184" y="1181"/>
                  </a:lnTo>
                  <a:lnTo>
                    <a:pt x="183" y="1185"/>
                  </a:lnTo>
                  <a:lnTo>
                    <a:pt x="182" y="1186"/>
                  </a:lnTo>
                  <a:lnTo>
                    <a:pt x="182" y="1191"/>
                  </a:lnTo>
                  <a:lnTo>
                    <a:pt x="181" y="1198"/>
                  </a:lnTo>
                  <a:lnTo>
                    <a:pt x="179" y="1204"/>
                  </a:lnTo>
                  <a:lnTo>
                    <a:pt x="177" y="1211"/>
                  </a:lnTo>
                  <a:lnTo>
                    <a:pt x="175" y="1216"/>
                  </a:lnTo>
                  <a:lnTo>
                    <a:pt x="173" y="1221"/>
                  </a:lnTo>
                  <a:lnTo>
                    <a:pt x="170" y="1228"/>
                  </a:lnTo>
                  <a:lnTo>
                    <a:pt x="170" y="1226"/>
                  </a:lnTo>
                  <a:lnTo>
                    <a:pt x="170" y="1224"/>
                  </a:lnTo>
                  <a:lnTo>
                    <a:pt x="170" y="1220"/>
                  </a:lnTo>
                  <a:lnTo>
                    <a:pt x="172" y="1216"/>
                  </a:lnTo>
                  <a:lnTo>
                    <a:pt x="172" y="1210"/>
                  </a:lnTo>
                  <a:lnTo>
                    <a:pt x="172" y="1212"/>
                  </a:lnTo>
                  <a:lnTo>
                    <a:pt x="170" y="1213"/>
                  </a:lnTo>
                  <a:lnTo>
                    <a:pt x="170" y="1213"/>
                  </a:lnTo>
                  <a:lnTo>
                    <a:pt x="169" y="1224"/>
                  </a:lnTo>
                  <a:lnTo>
                    <a:pt x="168" y="1230"/>
                  </a:lnTo>
                  <a:lnTo>
                    <a:pt x="168" y="1234"/>
                  </a:lnTo>
                  <a:lnTo>
                    <a:pt x="168" y="1235"/>
                  </a:lnTo>
                  <a:lnTo>
                    <a:pt x="169" y="1241"/>
                  </a:lnTo>
                  <a:lnTo>
                    <a:pt x="172" y="1247"/>
                  </a:lnTo>
                  <a:lnTo>
                    <a:pt x="175" y="1255"/>
                  </a:lnTo>
                  <a:lnTo>
                    <a:pt x="173" y="1252"/>
                  </a:lnTo>
                  <a:lnTo>
                    <a:pt x="178" y="1261"/>
                  </a:lnTo>
                  <a:lnTo>
                    <a:pt x="181" y="1266"/>
                  </a:lnTo>
                  <a:lnTo>
                    <a:pt x="181" y="1266"/>
                  </a:lnTo>
                  <a:lnTo>
                    <a:pt x="175" y="1255"/>
                  </a:lnTo>
                  <a:lnTo>
                    <a:pt x="191" y="1282"/>
                  </a:lnTo>
                  <a:lnTo>
                    <a:pt x="194" y="1287"/>
                  </a:lnTo>
                  <a:lnTo>
                    <a:pt x="196" y="1290"/>
                  </a:lnTo>
                  <a:lnTo>
                    <a:pt x="199" y="1292"/>
                  </a:lnTo>
                  <a:lnTo>
                    <a:pt x="200" y="1293"/>
                  </a:lnTo>
                  <a:lnTo>
                    <a:pt x="200" y="1295"/>
                  </a:lnTo>
                  <a:lnTo>
                    <a:pt x="200" y="1293"/>
                  </a:lnTo>
                  <a:lnTo>
                    <a:pt x="197" y="1293"/>
                  </a:lnTo>
                  <a:lnTo>
                    <a:pt x="196" y="1291"/>
                  </a:lnTo>
                  <a:lnTo>
                    <a:pt x="196" y="1293"/>
                  </a:lnTo>
                  <a:lnTo>
                    <a:pt x="205" y="1301"/>
                  </a:lnTo>
                  <a:lnTo>
                    <a:pt x="206" y="1302"/>
                  </a:lnTo>
                  <a:lnTo>
                    <a:pt x="210" y="1306"/>
                  </a:lnTo>
                  <a:lnTo>
                    <a:pt x="214" y="1310"/>
                  </a:lnTo>
                  <a:lnTo>
                    <a:pt x="209" y="1304"/>
                  </a:lnTo>
                  <a:lnTo>
                    <a:pt x="204" y="1300"/>
                  </a:lnTo>
                  <a:lnTo>
                    <a:pt x="201" y="1297"/>
                  </a:lnTo>
                  <a:lnTo>
                    <a:pt x="200" y="1296"/>
                  </a:lnTo>
                  <a:lnTo>
                    <a:pt x="199" y="1295"/>
                  </a:lnTo>
                  <a:lnTo>
                    <a:pt x="197" y="1295"/>
                  </a:lnTo>
                  <a:lnTo>
                    <a:pt x="199" y="1295"/>
                  </a:lnTo>
                  <a:lnTo>
                    <a:pt x="200" y="1295"/>
                  </a:lnTo>
                  <a:lnTo>
                    <a:pt x="203" y="1296"/>
                  </a:lnTo>
                  <a:lnTo>
                    <a:pt x="205" y="1297"/>
                  </a:lnTo>
                  <a:lnTo>
                    <a:pt x="210" y="1301"/>
                  </a:lnTo>
                  <a:lnTo>
                    <a:pt x="215" y="1305"/>
                  </a:lnTo>
                  <a:lnTo>
                    <a:pt x="221" y="1312"/>
                  </a:lnTo>
                  <a:lnTo>
                    <a:pt x="224" y="1317"/>
                  </a:lnTo>
                  <a:lnTo>
                    <a:pt x="226" y="1322"/>
                  </a:lnTo>
                  <a:lnTo>
                    <a:pt x="227" y="1322"/>
                  </a:lnTo>
                  <a:lnTo>
                    <a:pt x="227" y="1322"/>
                  </a:lnTo>
                  <a:lnTo>
                    <a:pt x="227" y="1323"/>
                  </a:lnTo>
                  <a:lnTo>
                    <a:pt x="227" y="1326"/>
                  </a:lnTo>
                  <a:lnTo>
                    <a:pt x="227" y="1327"/>
                  </a:lnTo>
                  <a:lnTo>
                    <a:pt x="224" y="1328"/>
                  </a:lnTo>
                  <a:lnTo>
                    <a:pt x="224" y="1328"/>
                  </a:lnTo>
                  <a:lnTo>
                    <a:pt x="224" y="1328"/>
                  </a:lnTo>
                  <a:lnTo>
                    <a:pt x="224" y="1330"/>
                  </a:lnTo>
                  <a:lnTo>
                    <a:pt x="224" y="1331"/>
                  </a:lnTo>
                  <a:lnTo>
                    <a:pt x="224" y="1332"/>
                  </a:lnTo>
                  <a:lnTo>
                    <a:pt x="224" y="1331"/>
                  </a:lnTo>
                  <a:lnTo>
                    <a:pt x="224" y="1335"/>
                  </a:lnTo>
                  <a:lnTo>
                    <a:pt x="224" y="1337"/>
                  </a:lnTo>
                  <a:lnTo>
                    <a:pt x="224" y="1339"/>
                  </a:lnTo>
                  <a:lnTo>
                    <a:pt x="224" y="1337"/>
                  </a:lnTo>
                  <a:lnTo>
                    <a:pt x="224" y="1336"/>
                  </a:lnTo>
                  <a:lnTo>
                    <a:pt x="223" y="1333"/>
                  </a:lnTo>
                  <a:lnTo>
                    <a:pt x="221" y="1336"/>
                  </a:lnTo>
                  <a:lnTo>
                    <a:pt x="218" y="1337"/>
                  </a:lnTo>
                  <a:lnTo>
                    <a:pt x="215" y="1339"/>
                  </a:lnTo>
                  <a:lnTo>
                    <a:pt x="212" y="1339"/>
                  </a:lnTo>
                  <a:lnTo>
                    <a:pt x="209" y="1339"/>
                  </a:lnTo>
                  <a:lnTo>
                    <a:pt x="205" y="1337"/>
                  </a:lnTo>
                  <a:lnTo>
                    <a:pt x="204" y="1337"/>
                  </a:lnTo>
                  <a:lnTo>
                    <a:pt x="203" y="1336"/>
                  </a:lnTo>
                  <a:lnTo>
                    <a:pt x="203" y="1336"/>
                  </a:lnTo>
                  <a:lnTo>
                    <a:pt x="203" y="1336"/>
                  </a:lnTo>
                  <a:lnTo>
                    <a:pt x="204" y="1336"/>
                  </a:lnTo>
                  <a:lnTo>
                    <a:pt x="206" y="1336"/>
                  </a:lnTo>
                  <a:lnTo>
                    <a:pt x="208" y="1335"/>
                  </a:lnTo>
                  <a:lnTo>
                    <a:pt x="205" y="1335"/>
                  </a:lnTo>
                  <a:lnTo>
                    <a:pt x="195" y="1335"/>
                  </a:lnTo>
                  <a:lnTo>
                    <a:pt x="183" y="1332"/>
                  </a:lnTo>
                  <a:lnTo>
                    <a:pt x="187" y="1333"/>
                  </a:lnTo>
                  <a:lnTo>
                    <a:pt x="191" y="1335"/>
                  </a:lnTo>
                  <a:lnTo>
                    <a:pt x="192" y="1336"/>
                  </a:lnTo>
                  <a:lnTo>
                    <a:pt x="194" y="1336"/>
                  </a:lnTo>
                  <a:lnTo>
                    <a:pt x="192" y="1336"/>
                  </a:lnTo>
                  <a:lnTo>
                    <a:pt x="190" y="1336"/>
                  </a:lnTo>
                  <a:lnTo>
                    <a:pt x="186" y="1336"/>
                  </a:lnTo>
                  <a:lnTo>
                    <a:pt x="179" y="1335"/>
                  </a:lnTo>
                  <a:lnTo>
                    <a:pt x="173" y="1333"/>
                  </a:lnTo>
                  <a:lnTo>
                    <a:pt x="166" y="1331"/>
                  </a:lnTo>
                  <a:lnTo>
                    <a:pt x="160" y="1327"/>
                  </a:lnTo>
                  <a:lnTo>
                    <a:pt x="155" y="1323"/>
                  </a:lnTo>
                  <a:lnTo>
                    <a:pt x="151" y="1319"/>
                  </a:lnTo>
                  <a:lnTo>
                    <a:pt x="148" y="1317"/>
                  </a:lnTo>
                  <a:lnTo>
                    <a:pt x="147" y="1314"/>
                  </a:lnTo>
                  <a:lnTo>
                    <a:pt x="145" y="1313"/>
                  </a:lnTo>
                  <a:lnTo>
                    <a:pt x="146" y="1314"/>
                  </a:lnTo>
                  <a:lnTo>
                    <a:pt x="147" y="1318"/>
                  </a:lnTo>
                  <a:lnTo>
                    <a:pt x="148" y="1321"/>
                  </a:lnTo>
                  <a:lnTo>
                    <a:pt x="150" y="1323"/>
                  </a:lnTo>
                  <a:lnTo>
                    <a:pt x="150" y="1323"/>
                  </a:lnTo>
                  <a:lnTo>
                    <a:pt x="150" y="1323"/>
                  </a:lnTo>
                  <a:lnTo>
                    <a:pt x="148" y="1322"/>
                  </a:lnTo>
                  <a:lnTo>
                    <a:pt x="146" y="1319"/>
                  </a:lnTo>
                  <a:lnTo>
                    <a:pt x="143" y="1315"/>
                  </a:lnTo>
                  <a:lnTo>
                    <a:pt x="139" y="1310"/>
                  </a:lnTo>
                  <a:lnTo>
                    <a:pt x="137" y="1306"/>
                  </a:lnTo>
                  <a:lnTo>
                    <a:pt x="138" y="1310"/>
                  </a:lnTo>
                  <a:lnTo>
                    <a:pt x="138" y="1313"/>
                  </a:lnTo>
                  <a:lnTo>
                    <a:pt x="139" y="1314"/>
                  </a:lnTo>
                  <a:lnTo>
                    <a:pt x="139" y="1315"/>
                  </a:lnTo>
                  <a:lnTo>
                    <a:pt x="139" y="1314"/>
                  </a:lnTo>
                  <a:lnTo>
                    <a:pt x="138" y="1313"/>
                  </a:lnTo>
                  <a:lnTo>
                    <a:pt x="135" y="1309"/>
                  </a:lnTo>
                  <a:lnTo>
                    <a:pt x="133" y="1305"/>
                  </a:lnTo>
                  <a:lnTo>
                    <a:pt x="119" y="1281"/>
                  </a:lnTo>
                  <a:lnTo>
                    <a:pt x="111" y="1269"/>
                  </a:lnTo>
                  <a:lnTo>
                    <a:pt x="106" y="1259"/>
                  </a:lnTo>
                  <a:lnTo>
                    <a:pt x="103" y="1256"/>
                  </a:lnTo>
                  <a:lnTo>
                    <a:pt x="99" y="1252"/>
                  </a:lnTo>
                  <a:lnTo>
                    <a:pt x="97" y="1250"/>
                  </a:lnTo>
                  <a:lnTo>
                    <a:pt x="94" y="1247"/>
                  </a:lnTo>
                  <a:lnTo>
                    <a:pt x="88" y="1243"/>
                  </a:lnTo>
                  <a:lnTo>
                    <a:pt x="81" y="1238"/>
                  </a:lnTo>
                  <a:lnTo>
                    <a:pt x="75" y="1235"/>
                  </a:lnTo>
                  <a:lnTo>
                    <a:pt x="70" y="1231"/>
                  </a:lnTo>
                  <a:lnTo>
                    <a:pt x="65" y="1226"/>
                  </a:lnTo>
                  <a:lnTo>
                    <a:pt x="59" y="1220"/>
                  </a:lnTo>
                  <a:lnTo>
                    <a:pt x="58" y="1217"/>
                  </a:lnTo>
                  <a:lnTo>
                    <a:pt x="56" y="1215"/>
                  </a:lnTo>
                  <a:lnTo>
                    <a:pt x="54" y="1211"/>
                  </a:lnTo>
                  <a:lnTo>
                    <a:pt x="54" y="1207"/>
                  </a:lnTo>
                  <a:lnTo>
                    <a:pt x="54" y="1203"/>
                  </a:lnTo>
                  <a:lnTo>
                    <a:pt x="56" y="1199"/>
                  </a:lnTo>
                  <a:lnTo>
                    <a:pt x="58" y="1193"/>
                  </a:lnTo>
                  <a:lnTo>
                    <a:pt x="61" y="1188"/>
                  </a:lnTo>
                  <a:lnTo>
                    <a:pt x="63" y="1185"/>
                  </a:lnTo>
                  <a:lnTo>
                    <a:pt x="65" y="1182"/>
                  </a:lnTo>
                  <a:lnTo>
                    <a:pt x="70" y="1179"/>
                  </a:lnTo>
                  <a:lnTo>
                    <a:pt x="74" y="1177"/>
                  </a:lnTo>
                  <a:lnTo>
                    <a:pt x="80" y="1175"/>
                  </a:lnTo>
                  <a:lnTo>
                    <a:pt x="98" y="1157"/>
                  </a:lnTo>
                  <a:lnTo>
                    <a:pt x="120" y="1140"/>
                  </a:lnTo>
                  <a:lnTo>
                    <a:pt x="141" y="1124"/>
                  </a:lnTo>
                  <a:lnTo>
                    <a:pt x="151" y="1115"/>
                  </a:lnTo>
                  <a:lnTo>
                    <a:pt x="161" y="1106"/>
                  </a:lnTo>
                  <a:lnTo>
                    <a:pt x="166" y="1100"/>
                  </a:lnTo>
                  <a:lnTo>
                    <a:pt x="168" y="1098"/>
                  </a:lnTo>
                  <a:lnTo>
                    <a:pt x="166" y="1100"/>
                  </a:lnTo>
                  <a:lnTo>
                    <a:pt x="166" y="1100"/>
                  </a:lnTo>
                  <a:lnTo>
                    <a:pt x="166" y="1100"/>
                  </a:lnTo>
                  <a:lnTo>
                    <a:pt x="168" y="1097"/>
                  </a:lnTo>
                  <a:lnTo>
                    <a:pt x="169" y="1095"/>
                  </a:lnTo>
                  <a:lnTo>
                    <a:pt x="172" y="1091"/>
                  </a:lnTo>
                  <a:lnTo>
                    <a:pt x="175" y="1087"/>
                  </a:lnTo>
                  <a:lnTo>
                    <a:pt x="177" y="1084"/>
                  </a:lnTo>
                  <a:lnTo>
                    <a:pt x="175" y="1086"/>
                  </a:lnTo>
                  <a:lnTo>
                    <a:pt x="173" y="1088"/>
                  </a:lnTo>
                  <a:lnTo>
                    <a:pt x="170" y="1091"/>
                  </a:lnTo>
                  <a:lnTo>
                    <a:pt x="169" y="1091"/>
                  </a:lnTo>
                  <a:lnTo>
                    <a:pt x="169" y="1091"/>
                  </a:lnTo>
                  <a:lnTo>
                    <a:pt x="169" y="1091"/>
                  </a:lnTo>
                  <a:lnTo>
                    <a:pt x="170" y="1089"/>
                  </a:lnTo>
                  <a:lnTo>
                    <a:pt x="172" y="1087"/>
                  </a:lnTo>
                  <a:lnTo>
                    <a:pt x="173" y="1084"/>
                  </a:lnTo>
                  <a:lnTo>
                    <a:pt x="177" y="1079"/>
                  </a:lnTo>
                  <a:lnTo>
                    <a:pt x="181" y="1074"/>
                  </a:lnTo>
                  <a:lnTo>
                    <a:pt x="183" y="1062"/>
                  </a:lnTo>
                  <a:lnTo>
                    <a:pt x="187" y="1051"/>
                  </a:lnTo>
                  <a:lnTo>
                    <a:pt x="192" y="1038"/>
                  </a:lnTo>
                  <a:lnTo>
                    <a:pt x="201" y="1022"/>
                  </a:lnTo>
                  <a:lnTo>
                    <a:pt x="215" y="1005"/>
                  </a:lnTo>
                  <a:lnTo>
                    <a:pt x="230" y="990"/>
                  </a:lnTo>
                  <a:lnTo>
                    <a:pt x="226" y="994"/>
                  </a:lnTo>
                  <a:lnTo>
                    <a:pt x="223" y="996"/>
                  </a:lnTo>
                  <a:lnTo>
                    <a:pt x="221" y="998"/>
                  </a:lnTo>
                  <a:lnTo>
                    <a:pt x="219" y="999"/>
                  </a:lnTo>
                  <a:lnTo>
                    <a:pt x="218" y="1000"/>
                  </a:lnTo>
                  <a:lnTo>
                    <a:pt x="219" y="999"/>
                  </a:lnTo>
                  <a:lnTo>
                    <a:pt x="221" y="998"/>
                  </a:lnTo>
                  <a:lnTo>
                    <a:pt x="222" y="995"/>
                  </a:lnTo>
                  <a:lnTo>
                    <a:pt x="224" y="991"/>
                  </a:lnTo>
                  <a:lnTo>
                    <a:pt x="228" y="986"/>
                  </a:lnTo>
                  <a:lnTo>
                    <a:pt x="235" y="981"/>
                  </a:lnTo>
                  <a:lnTo>
                    <a:pt x="242" y="976"/>
                  </a:lnTo>
                  <a:lnTo>
                    <a:pt x="242" y="976"/>
                  </a:lnTo>
                  <a:lnTo>
                    <a:pt x="246" y="971"/>
                  </a:lnTo>
                  <a:lnTo>
                    <a:pt x="252" y="965"/>
                  </a:lnTo>
                  <a:lnTo>
                    <a:pt x="258" y="960"/>
                  </a:lnTo>
                  <a:lnTo>
                    <a:pt x="261" y="958"/>
                  </a:lnTo>
                  <a:lnTo>
                    <a:pt x="261" y="958"/>
                  </a:lnTo>
                  <a:lnTo>
                    <a:pt x="261" y="958"/>
                  </a:lnTo>
                  <a:lnTo>
                    <a:pt x="264" y="955"/>
                  </a:lnTo>
                  <a:lnTo>
                    <a:pt x="266" y="954"/>
                  </a:lnTo>
                  <a:lnTo>
                    <a:pt x="267" y="953"/>
                  </a:lnTo>
                  <a:lnTo>
                    <a:pt x="267" y="953"/>
                  </a:lnTo>
                  <a:lnTo>
                    <a:pt x="267" y="953"/>
                  </a:lnTo>
                  <a:lnTo>
                    <a:pt x="272" y="947"/>
                  </a:lnTo>
                  <a:lnTo>
                    <a:pt x="276" y="941"/>
                  </a:lnTo>
                  <a:lnTo>
                    <a:pt x="280" y="938"/>
                  </a:lnTo>
                  <a:lnTo>
                    <a:pt x="279" y="933"/>
                  </a:lnTo>
                  <a:lnTo>
                    <a:pt x="277" y="934"/>
                  </a:lnTo>
                  <a:lnTo>
                    <a:pt x="277" y="934"/>
                  </a:lnTo>
                  <a:lnTo>
                    <a:pt x="277" y="934"/>
                  </a:lnTo>
                  <a:lnTo>
                    <a:pt x="277" y="933"/>
                  </a:lnTo>
                  <a:lnTo>
                    <a:pt x="277" y="931"/>
                  </a:lnTo>
                  <a:lnTo>
                    <a:pt x="276" y="922"/>
                  </a:lnTo>
                  <a:lnTo>
                    <a:pt x="275" y="918"/>
                  </a:lnTo>
                  <a:lnTo>
                    <a:pt x="273" y="919"/>
                  </a:lnTo>
                  <a:lnTo>
                    <a:pt x="273" y="931"/>
                  </a:lnTo>
                  <a:lnTo>
                    <a:pt x="271" y="922"/>
                  </a:lnTo>
                  <a:lnTo>
                    <a:pt x="271" y="922"/>
                  </a:lnTo>
                  <a:lnTo>
                    <a:pt x="270" y="922"/>
                  </a:lnTo>
                  <a:lnTo>
                    <a:pt x="270" y="922"/>
                  </a:lnTo>
                  <a:lnTo>
                    <a:pt x="268" y="922"/>
                  </a:lnTo>
                  <a:lnTo>
                    <a:pt x="270" y="905"/>
                  </a:lnTo>
                  <a:lnTo>
                    <a:pt x="267" y="903"/>
                  </a:lnTo>
                  <a:lnTo>
                    <a:pt x="267" y="898"/>
                  </a:lnTo>
                  <a:lnTo>
                    <a:pt x="267" y="896"/>
                  </a:lnTo>
                  <a:lnTo>
                    <a:pt x="267" y="896"/>
                  </a:lnTo>
                  <a:lnTo>
                    <a:pt x="267" y="896"/>
                  </a:lnTo>
                  <a:lnTo>
                    <a:pt x="267" y="896"/>
                  </a:lnTo>
                  <a:lnTo>
                    <a:pt x="267" y="897"/>
                  </a:lnTo>
                  <a:lnTo>
                    <a:pt x="267" y="898"/>
                  </a:lnTo>
                  <a:lnTo>
                    <a:pt x="267" y="900"/>
                  </a:lnTo>
                  <a:lnTo>
                    <a:pt x="267" y="900"/>
                  </a:lnTo>
                  <a:lnTo>
                    <a:pt x="267" y="900"/>
                  </a:lnTo>
                  <a:lnTo>
                    <a:pt x="266" y="893"/>
                  </a:lnTo>
                  <a:lnTo>
                    <a:pt x="266" y="888"/>
                  </a:lnTo>
                  <a:lnTo>
                    <a:pt x="266" y="883"/>
                  </a:lnTo>
                  <a:lnTo>
                    <a:pt x="266" y="884"/>
                  </a:lnTo>
                  <a:lnTo>
                    <a:pt x="266" y="879"/>
                  </a:lnTo>
                  <a:lnTo>
                    <a:pt x="264" y="888"/>
                  </a:lnTo>
                  <a:lnTo>
                    <a:pt x="263" y="897"/>
                  </a:lnTo>
                  <a:lnTo>
                    <a:pt x="263" y="905"/>
                  </a:lnTo>
                  <a:lnTo>
                    <a:pt x="257" y="892"/>
                  </a:lnTo>
                  <a:lnTo>
                    <a:pt x="254" y="878"/>
                  </a:lnTo>
                  <a:lnTo>
                    <a:pt x="254" y="878"/>
                  </a:lnTo>
                  <a:lnTo>
                    <a:pt x="253" y="874"/>
                  </a:lnTo>
                  <a:lnTo>
                    <a:pt x="253" y="871"/>
                  </a:lnTo>
                  <a:lnTo>
                    <a:pt x="252" y="867"/>
                  </a:lnTo>
                  <a:lnTo>
                    <a:pt x="250" y="851"/>
                  </a:lnTo>
                  <a:lnTo>
                    <a:pt x="249" y="863"/>
                  </a:lnTo>
                  <a:lnTo>
                    <a:pt x="250" y="875"/>
                  </a:lnTo>
                  <a:lnTo>
                    <a:pt x="245" y="870"/>
                  </a:lnTo>
                  <a:lnTo>
                    <a:pt x="241" y="863"/>
                  </a:lnTo>
                  <a:lnTo>
                    <a:pt x="239" y="857"/>
                  </a:lnTo>
                  <a:lnTo>
                    <a:pt x="236" y="858"/>
                  </a:lnTo>
                  <a:lnTo>
                    <a:pt x="232" y="861"/>
                  </a:lnTo>
                  <a:lnTo>
                    <a:pt x="230" y="862"/>
                  </a:lnTo>
                  <a:lnTo>
                    <a:pt x="226" y="865"/>
                  </a:lnTo>
                  <a:lnTo>
                    <a:pt x="223" y="866"/>
                  </a:lnTo>
                  <a:lnTo>
                    <a:pt x="222" y="869"/>
                  </a:lnTo>
                  <a:lnTo>
                    <a:pt x="221" y="869"/>
                  </a:lnTo>
                  <a:lnTo>
                    <a:pt x="221" y="869"/>
                  </a:lnTo>
                  <a:lnTo>
                    <a:pt x="218" y="871"/>
                  </a:lnTo>
                  <a:lnTo>
                    <a:pt x="210" y="876"/>
                  </a:lnTo>
                  <a:lnTo>
                    <a:pt x="199" y="885"/>
                  </a:lnTo>
                  <a:lnTo>
                    <a:pt x="183" y="896"/>
                  </a:lnTo>
                  <a:lnTo>
                    <a:pt x="166" y="909"/>
                  </a:lnTo>
                  <a:lnTo>
                    <a:pt x="147" y="922"/>
                  </a:lnTo>
                  <a:lnTo>
                    <a:pt x="126" y="937"/>
                  </a:lnTo>
                  <a:lnTo>
                    <a:pt x="106" y="951"/>
                  </a:lnTo>
                  <a:lnTo>
                    <a:pt x="85" y="967"/>
                  </a:lnTo>
                  <a:lnTo>
                    <a:pt x="66" y="980"/>
                  </a:lnTo>
                  <a:lnTo>
                    <a:pt x="49" y="993"/>
                  </a:lnTo>
                  <a:lnTo>
                    <a:pt x="34" y="1003"/>
                  </a:lnTo>
                  <a:lnTo>
                    <a:pt x="22" y="1011"/>
                  </a:lnTo>
                  <a:lnTo>
                    <a:pt x="14" y="1016"/>
                  </a:lnTo>
                  <a:lnTo>
                    <a:pt x="12" y="1018"/>
                  </a:lnTo>
                  <a:lnTo>
                    <a:pt x="10" y="1018"/>
                  </a:lnTo>
                  <a:lnTo>
                    <a:pt x="9" y="1017"/>
                  </a:lnTo>
                  <a:lnTo>
                    <a:pt x="8" y="1016"/>
                  </a:lnTo>
                  <a:lnTo>
                    <a:pt x="7" y="1016"/>
                  </a:lnTo>
                  <a:lnTo>
                    <a:pt x="7" y="1015"/>
                  </a:lnTo>
                  <a:lnTo>
                    <a:pt x="7" y="1013"/>
                  </a:lnTo>
                  <a:lnTo>
                    <a:pt x="7" y="1011"/>
                  </a:lnTo>
                  <a:lnTo>
                    <a:pt x="9" y="1008"/>
                  </a:lnTo>
                  <a:lnTo>
                    <a:pt x="12" y="1005"/>
                  </a:lnTo>
                  <a:lnTo>
                    <a:pt x="17" y="1003"/>
                  </a:lnTo>
                  <a:lnTo>
                    <a:pt x="17" y="1003"/>
                  </a:lnTo>
                  <a:lnTo>
                    <a:pt x="16" y="1000"/>
                  </a:lnTo>
                  <a:lnTo>
                    <a:pt x="16" y="1000"/>
                  </a:lnTo>
                  <a:lnTo>
                    <a:pt x="5" y="1009"/>
                  </a:lnTo>
                  <a:lnTo>
                    <a:pt x="4" y="1007"/>
                  </a:lnTo>
                  <a:lnTo>
                    <a:pt x="1" y="1005"/>
                  </a:lnTo>
                  <a:lnTo>
                    <a:pt x="0" y="1003"/>
                  </a:lnTo>
                  <a:lnTo>
                    <a:pt x="0" y="1000"/>
                  </a:lnTo>
                  <a:lnTo>
                    <a:pt x="16" y="989"/>
                  </a:lnTo>
                  <a:lnTo>
                    <a:pt x="16" y="987"/>
                  </a:lnTo>
                  <a:lnTo>
                    <a:pt x="0" y="996"/>
                  </a:lnTo>
                  <a:lnTo>
                    <a:pt x="3" y="993"/>
                  </a:lnTo>
                  <a:lnTo>
                    <a:pt x="12" y="986"/>
                  </a:lnTo>
                  <a:lnTo>
                    <a:pt x="23" y="976"/>
                  </a:lnTo>
                  <a:lnTo>
                    <a:pt x="39" y="963"/>
                  </a:lnTo>
                  <a:lnTo>
                    <a:pt x="57" y="950"/>
                  </a:lnTo>
                  <a:lnTo>
                    <a:pt x="77" y="934"/>
                  </a:lnTo>
                  <a:lnTo>
                    <a:pt x="99" y="918"/>
                  </a:lnTo>
                  <a:lnTo>
                    <a:pt x="121" y="902"/>
                  </a:lnTo>
                  <a:lnTo>
                    <a:pt x="143" y="885"/>
                  </a:lnTo>
                  <a:lnTo>
                    <a:pt x="164" y="871"/>
                  </a:lnTo>
                  <a:lnTo>
                    <a:pt x="183" y="857"/>
                  </a:lnTo>
                  <a:lnTo>
                    <a:pt x="200" y="845"/>
                  </a:lnTo>
                  <a:lnTo>
                    <a:pt x="214" y="836"/>
                  </a:lnTo>
                  <a:lnTo>
                    <a:pt x="213" y="834"/>
                  </a:lnTo>
                  <a:lnTo>
                    <a:pt x="212" y="830"/>
                  </a:lnTo>
                  <a:lnTo>
                    <a:pt x="210" y="827"/>
                  </a:lnTo>
                  <a:lnTo>
                    <a:pt x="210" y="823"/>
                  </a:lnTo>
                  <a:lnTo>
                    <a:pt x="209" y="820"/>
                  </a:lnTo>
                  <a:lnTo>
                    <a:pt x="208" y="817"/>
                  </a:lnTo>
                  <a:lnTo>
                    <a:pt x="208" y="816"/>
                  </a:lnTo>
                  <a:lnTo>
                    <a:pt x="206" y="816"/>
                  </a:lnTo>
                  <a:lnTo>
                    <a:pt x="206" y="818"/>
                  </a:lnTo>
                  <a:lnTo>
                    <a:pt x="201" y="803"/>
                  </a:lnTo>
                  <a:lnTo>
                    <a:pt x="197" y="786"/>
                  </a:lnTo>
                  <a:lnTo>
                    <a:pt x="192" y="770"/>
                  </a:lnTo>
                  <a:lnTo>
                    <a:pt x="192" y="776"/>
                  </a:lnTo>
                  <a:lnTo>
                    <a:pt x="192" y="782"/>
                  </a:lnTo>
                  <a:lnTo>
                    <a:pt x="192" y="787"/>
                  </a:lnTo>
                  <a:lnTo>
                    <a:pt x="181" y="772"/>
                  </a:lnTo>
                  <a:lnTo>
                    <a:pt x="175" y="754"/>
                  </a:lnTo>
                  <a:lnTo>
                    <a:pt x="175" y="734"/>
                  </a:lnTo>
                  <a:lnTo>
                    <a:pt x="169" y="712"/>
                  </a:lnTo>
                  <a:lnTo>
                    <a:pt x="165" y="729"/>
                  </a:lnTo>
                  <a:lnTo>
                    <a:pt x="165" y="712"/>
                  </a:lnTo>
                  <a:lnTo>
                    <a:pt x="166" y="696"/>
                  </a:lnTo>
                  <a:lnTo>
                    <a:pt x="166" y="685"/>
                  </a:lnTo>
                  <a:lnTo>
                    <a:pt x="166" y="674"/>
                  </a:lnTo>
                  <a:lnTo>
                    <a:pt x="166" y="674"/>
                  </a:lnTo>
                  <a:lnTo>
                    <a:pt x="166" y="674"/>
                  </a:lnTo>
                  <a:lnTo>
                    <a:pt x="166" y="671"/>
                  </a:lnTo>
                  <a:lnTo>
                    <a:pt x="166" y="667"/>
                  </a:lnTo>
                  <a:lnTo>
                    <a:pt x="168" y="663"/>
                  </a:lnTo>
                  <a:lnTo>
                    <a:pt x="170" y="652"/>
                  </a:lnTo>
                  <a:lnTo>
                    <a:pt x="174" y="637"/>
                  </a:lnTo>
                  <a:lnTo>
                    <a:pt x="175" y="632"/>
                  </a:lnTo>
                  <a:lnTo>
                    <a:pt x="179" y="621"/>
                  </a:lnTo>
                  <a:lnTo>
                    <a:pt x="186" y="606"/>
                  </a:lnTo>
                  <a:lnTo>
                    <a:pt x="192" y="592"/>
                  </a:lnTo>
                  <a:lnTo>
                    <a:pt x="197" y="581"/>
                  </a:lnTo>
                  <a:lnTo>
                    <a:pt x="199" y="575"/>
                  </a:lnTo>
                  <a:lnTo>
                    <a:pt x="199" y="570"/>
                  </a:lnTo>
                  <a:lnTo>
                    <a:pt x="201" y="565"/>
                  </a:lnTo>
                  <a:lnTo>
                    <a:pt x="204" y="560"/>
                  </a:lnTo>
                  <a:lnTo>
                    <a:pt x="205" y="559"/>
                  </a:lnTo>
                  <a:lnTo>
                    <a:pt x="206" y="555"/>
                  </a:lnTo>
                  <a:lnTo>
                    <a:pt x="206" y="554"/>
                  </a:lnTo>
                  <a:lnTo>
                    <a:pt x="208" y="550"/>
                  </a:lnTo>
                  <a:lnTo>
                    <a:pt x="209" y="546"/>
                  </a:lnTo>
                  <a:lnTo>
                    <a:pt x="210" y="544"/>
                  </a:lnTo>
                  <a:lnTo>
                    <a:pt x="208" y="546"/>
                  </a:lnTo>
                  <a:lnTo>
                    <a:pt x="206" y="547"/>
                  </a:lnTo>
                  <a:lnTo>
                    <a:pt x="205" y="547"/>
                  </a:lnTo>
                  <a:lnTo>
                    <a:pt x="206" y="547"/>
                  </a:lnTo>
                  <a:lnTo>
                    <a:pt x="206" y="546"/>
                  </a:lnTo>
                  <a:lnTo>
                    <a:pt x="209" y="543"/>
                  </a:lnTo>
                  <a:lnTo>
                    <a:pt x="212" y="539"/>
                  </a:lnTo>
                  <a:lnTo>
                    <a:pt x="215" y="533"/>
                  </a:lnTo>
                  <a:lnTo>
                    <a:pt x="218" y="525"/>
                  </a:lnTo>
                  <a:lnTo>
                    <a:pt x="218" y="521"/>
                  </a:lnTo>
                  <a:lnTo>
                    <a:pt x="217" y="519"/>
                  </a:lnTo>
                  <a:lnTo>
                    <a:pt x="217" y="517"/>
                  </a:lnTo>
                  <a:lnTo>
                    <a:pt x="219" y="523"/>
                  </a:lnTo>
                  <a:lnTo>
                    <a:pt x="221" y="515"/>
                  </a:lnTo>
                  <a:lnTo>
                    <a:pt x="222" y="507"/>
                  </a:lnTo>
                  <a:lnTo>
                    <a:pt x="219" y="503"/>
                  </a:lnTo>
                  <a:lnTo>
                    <a:pt x="218" y="506"/>
                  </a:lnTo>
                  <a:lnTo>
                    <a:pt x="218" y="510"/>
                  </a:lnTo>
                  <a:lnTo>
                    <a:pt x="217" y="511"/>
                  </a:lnTo>
                  <a:lnTo>
                    <a:pt x="217" y="511"/>
                  </a:lnTo>
                  <a:lnTo>
                    <a:pt x="217" y="511"/>
                  </a:lnTo>
                  <a:lnTo>
                    <a:pt x="217" y="507"/>
                  </a:lnTo>
                  <a:lnTo>
                    <a:pt x="218" y="502"/>
                  </a:lnTo>
                  <a:lnTo>
                    <a:pt x="218" y="497"/>
                  </a:lnTo>
                  <a:lnTo>
                    <a:pt x="217" y="492"/>
                  </a:lnTo>
                  <a:lnTo>
                    <a:pt x="215" y="495"/>
                  </a:lnTo>
                  <a:lnTo>
                    <a:pt x="215" y="498"/>
                  </a:lnTo>
                  <a:lnTo>
                    <a:pt x="215" y="498"/>
                  </a:lnTo>
                  <a:lnTo>
                    <a:pt x="215" y="498"/>
                  </a:lnTo>
                  <a:lnTo>
                    <a:pt x="215" y="495"/>
                  </a:lnTo>
                  <a:lnTo>
                    <a:pt x="215" y="492"/>
                  </a:lnTo>
                  <a:lnTo>
                    <a:pt x="215" y="486"/>
                  </a:lnTo>
                  <a:lnTo>
                    <a:pt x="215" y="476"/>
                  </a:lnTo>
                  <a:lnTo>
                    <a:pt x="218" y="464"/>
                  </a:lnTo>
                  <a:lnTo>
                    <a:pt x="217" y="461"/>
                  </a:lnTo>
                  <a:lnTo>
                    <a:pt x="217" y="457"/>
                  </a:lnTo>
                  <a:lnTo>
                    <a:pt x="214" y="462"/>
                  </a:lnTo>
                  <a:lnTo>
                    <a:pt x="213" y="466"/>
                  </a:lnTo>
                  <a:lnTo>
                    <a:pt x="210" y="470"/>
                  </a:lnTo>
                  <a:lnTo>
                    <a:pt x="209" y="471"/>
                  </a:lnTo>
                  <a:lnTo>
                    <a:pt x="209" y="472"/>
                  </a:lnTo>
                  <a:lnTo>
                    <a:pt x="210" y="468"/>
                  </a:lnTo>
                  <a:lnTo>
                    <a:pt x="212" y="459"/>
                  </a:lnTo>
                  <a:lnTo>
                    <a:pt x="214" y="446"/>
                  </a:lnTo>
                  <a:lnTo>
                    <a:pt x="214" y="445"/>
                  </a:lnTo>
                  <a:lnTo>
                    <a:pt x="213" y="449"/>
                  </a:lnTo>
                  <a:lnTo>
                    <a:pt x="213" y="452"/>
                  </a:lnTo>
                  <a:lnTo>
                    <a:pt x="210" y="459"/>
                  </a:lnTo>
                  <a:lnTo>
                    <a:pt x="210" y="458"/>
                  </a:lnTo>
                  <a:lnTo>
                    <a:pt x="210" y="455"/>
                  </a:lnTo>
                  <a:lnTo>
                    <a:pt x="210" y="452"/>
                  </a:lnTo>
                  <a:lnTo>
                    <a:pt x="210" y="446"/>
                  </a:lnTo>
                  <a:lnTo>
                    <a:pt x="210" y="440"/>
                  </a:lnTo>
                  <a:lnTo>
                    <a:pt x="212" y="433"/>
                  </a:lnTo>
                  <a:lnTo>
                    <a:pt x="214" y="427"/>
                  </a:lnTo>
                  <a:lnTo>
                    <a:pt x="215" y="422"/>
                  </a:lnTo>
                  <a:lnTo>
                    <a:pt x="217" y="417"/>
                  </a:lnTo>
                  <a:lnTo>
                    <a:pt x="214" y="423"/>
                  </a:lnTo>
                  <a:lnTo>
                    <a:pt x="213" y="427"/>
                  </a:lnTo>
                  <a:lnTo>
                    <a:pt x="212" y="430"/>
                  </a:lnTo>
                  <a:lnTo>
                    <a:pt x="210" y="431"/>
                  </a:lnTo>
                  <a:lnTo>
                    <a:pt x="210" y="432"/>
                  </a:lnTo>
                  <a:lnTo>
                    <a:pt x="210" y="431"/>
                  </a:lnTo>
                  <a:lnTo>
                    <a:pt x="210" y="430"/>
                  </a:lnTo>
                  <a:lnTo>
                    <a:pt x="209" y="433"/>
                  </a:lnTo>
                  <a:lnTo>
                    <a:pt x="209" y="432"/>
                  </a:lnTo>
                  <a:lnTo>
                    <a:pt x="210" y="430"/>
                  </a:lnTo>
                  <a:lnTo>
                    <a:pt x="210" y="426"/>
                  </a:lnTo>
                  <a:lnTo>
                    <a:pt x="212" y="422"/>
                  </a:lnTo>
                  <a:lnTo>
                    <a:pt x="213" y="417"/>
                  </a:lnTo>
                  <a:lnTo>
                    <a:pt x="213" y="417"/>
                  </a:lnTo>
                  <a:lnTo>
                    <a:pt x="212" y="413"/>
                  </a:lnTo>
                  <a:lnTo>
                    <a:pt x="212" y="409"/>
                  </a:lnTo>
                  <a:lnTo>
                    <a:pt x="212" y="404"/>
                  </a:lnTo>
                  <a:lnTo>
                    <a:pt x="212" y="397"/>
                  </a:lnTo>
                  <a:lnTo>
                    <a:pt x="213" y="391"/>
                  </a:lnTo>
                  <a:lnTo>
                    <a:pt x="214" y="384"/>
                  </a:lnTo>
                  <a:lnTo>
                    <a:pt x="215" y="380"/>
                  </a:lnTo>
                  <a:lnTo>
                    <a:pt x="217" y="375"/>
                  </a:lnTo>
                  <a:lnTo>
                    <a:pt x="218" y="370"/>
                  </a:lnTo>
                  <a:lnTo>
                    <a:pt x="219" y="366"/>
                  </a:lnTo>
                  <a:lnTo>
                    <a:pt x="219" y="364"/>
                  </a:lnTo>
                  <a:lnTo>
                    <a:pt x="221" y="360"/>
                  </a:lnTo>
                  <a:lnTo>
                    <a:pt x="224" y="349"/>
                  </a:lnTo>
                  <a:lnTo>
                    <a:pt x="228" y="339"/>
                  </a:lnTo>
                  <a:lnTo>
                    <a:pt x="236" y="322"/>
                  </a:lnTo>
                  <a:lnTo>
                    <a:pt x="244" y="308"/>
                  </a:lnTo>
                  <a:lnTo>
                    <a:pt x="239" y="317"/>
                  </a:lnTo>
                  <a:lnTo>
                    <a:pt x="228" y="331"/>
                  </a:lnTo>
                  <a:lnTo>
                    <a:pt x="221" y="344"/>
                  </a:lnTo>
                  <a:lnTo>
                    <a:pt x="218" y="349"/>
                  </a:lnTo>
                  <a:lnTo>
                    <a:pt x="215" y="352"/>
                  </a:lnTo>
                  <a:lnTo>
                    <a:pt x="214" y="355"/>
                  </a:lnTo>
                  <a:lnTo>
                    <a:pt x="214" y="356"/>
                  </a:lnTo>
                  <a:lnTo>
                    <a:pt x="214" y="355"/>
                  </a:lnTo>
                  <a:lnTo>
                    <a:pt x="215" y="352"/>
                  </a:lnTo>
                  <a:lnTo>
                    <a:pt x="217" y="348"/>
                  </a:lnTo>
                  <a:lnTo>
                    <a:pt x="218" y="343"/>
                  </a:lnTo>
                  <a:lnTo>
                    <a:pt x="224" y="330"/>
                  </a:lnTo>
                  <a:lnTo>
                    <a:pt x="233" y="315"/>
                  </a:lnTo>
                  <a:lnTo>
                    <a:pt x="239" y="308"/>
                  </a:lnTo>
                  <a:lnTo>
                    <a:pt x="244" y="302"/>
                  </a:lnTo>
                  <a:lnTo>
                    <a:pt x="244" y="299"/>
                  </a:lnTo>
                  <a:lnTo>
                    <a:pt x="250" y="286"/>
                  </a:lnTo>
                  <a:lnTo>
                    <a:pt x="261" y="271"/>
                  </a:lnTo>
                  <a:lnTo>
                    <a:pt x="264" y="266"/>
                  </a:lnTo>
                  <a:lnTo>
                    <a:pt x="262" y="267"/>
                  </a:lnTo>
                  <a:lnTo>
                    <a:pt x="262" y="267"/>
                  </a:lnTo>
                  <a:lnTo>
                    <a:pt x="262" y="267"/>
                  </a:lnTo>
                  <a:lnTo>
                    <a:pt x="263" y="266"/>
                  </a:lnTo>
                  <a:lnTo>
                    <a:pt x="264" y="263"/>
                  </a:lnTo>
                  <a:lnTo>
                    <a:pt x="267" y="260"/>
                  </a:lnTo>
                  <a:lnTo>
                    <a:pt x="270" y="257"/>
                  </a:lnTo>
                  <a:lnTo>
                    <a:pt x="275" y="251"/>
                  </a:lnTo>
                  <a:lnTo>
                    <a:pt x="280" y="246"/>
                  </a:lnTo>
                  <a:lnTo>
                    <a:pt x="284" y="242"/>
                  </a:lnTo>
                  <a:lnTo>
                    <a:pt x="286" y="240"/>
                  </a:lnTo>
                  <a:lnTo>
                    <a:pt x="288" y="237"/>
                  </a:lnTo>
                  <a:lnTo>
                    <a:pt x="289" y="237"/>
                  </a:lnTo>
                  <a:lnTo>
                    <a:pt x="289" y="236"/>
                  </a:lnTo>
                  <a:lnTo>
                    <a:pt x="289" y="237"/>
                  </a:lnTo>
                  <a:lnTo>
                    <a:pt x="288" y="238"/>
                  </a:lnTo>
                  <a:lnTo>
                    <a:pt x="288" y="238"/>
                  </a:lnTo>
                  <a:lnTo>
                    <a:pt x="291" y="232"/>
                  </a:lnTo>
                  <a:lnTo>
                    <a:pt x="293" y="227"/>
                  </a:lnTo>
                  <a:lnTo>
                    <a:pt x="295" y="223"/>
                  </a:lnTo>
                  <a:lnTo>
                    <a:pt x="298" y="219"/>
                  </a:lnTo>
                  <a:lnTo>
                    <a:pt x="302" y="214"/>
                  </a:lnTo>
                  <a:lnTo>
                    <a:pt x="306" y="197"/>
                  </a:lnTo>
                  <a:lnTo>
                    <a:pt x="304" y="202"/>
                  </a:lnTo>
                  <a:lnTo>
                    <a:pt x="300" y="211"/>
                  </a:lnTo>
                  <a:lnTo>
                    <a:pt x="295" y="223"/>
                  </a:lnTo>
                  <a:lnTo>
                    <a:pt x="293" y="228"/>
                  </a:lnTo>
                  <a:lnTo>
                    <a:pt x="291" y="228"/>
                  </a:lnTo>
                  <a:lnTo>
                    <a:pt x="291" y="228"/>
                  </a:lnTo>
                  <a:lnTo>
                    <a:pt x="288" y="233"/>
                  </a:lnTo>
                  <a:lnTo>
                    <a:pt x="284" y="238"/>
                  </a:lnTo>
                  <a:lnTo>
                    <a:pt x="281" y="241"/>
                  </a:lnTo>
                  <a:lnTo>
                    <a:pt x="277" y="245"/>
                  </a:lnTo>
                  <a:lnTo>
                    <a:pt x="276" y="246"/>
                  </a:lnTo>
                  <a:lnTo>
                    <a:pt x="273" y="247"/>
                  </a:lnTo>
                  <a:lnTo>
                    <a:pt x="273" y="247"/>
                  </a:lnTo>
                  <a:lnTo>
                    <a:pt x="273" y="247"/>
                  </a:lnTo>
                  <a:lnTo>
                    <a:pt x="275" y="246"/>
                  </a:lnTo>
                  <a:lnTo>
                    <a:pt x="276" y="244"/>
                  </a:lnTo>
                  <a:lnTo>
                    <a:pt x="279" y="240"/>
                  </a:lnTo>
                  <a:lnTo>
                    <a:pt x="282" y="233"/>
                  </a:lnTo>
                  <a:lnTo>
                    <a:pt x="288" y="226"/>
                  </a:lnTo>
                  <a:lnTo>
                    <a:pt x="288" y="226"/>
                  </a:lnTo>
                  <a:lnTo>
                    <a:pt x="291" y="220"/>
                  </a:lnTo>
                  <a:lnTo>
                    <a:pt x="297" y="211"/>
                  </a:lnTo>
                  <a:lnTo>
                    <a:pt x="304" y="182"/>
                  </a:lnTo>
                  <a:lnTo>
                    <a:pt x="304" y="176"/>
                  </a:lnTo>
                  <a:lnTo>
                    <a:pt x="304" y="180"/>
                  </a:lnTo>
                  <a:lnTo>
                    <a:pt x="303" y="183"/>
                  </a:lnTo>
                  <a:lnTo>
                    <a:pt x="303" y="185"/>
                  </a:lnTo>
                  <a:lnTo>
                    <a:pt x="303" y="185"/>
                  </a:lnTo>
                  <a:lnTo>
                    <a:pt x="303" y="185"/>
                  </a:lnTo>
                  <a:lnTo>
                    <a:pt x="303" y="182"/>
                  </a:lnTo>
                  <a:lnTo>
                    <a:pt x="303" y="176"/>
                  </a:lnTo>
                  <a:lnTo>
                    <a:pt x="303" y="170"/>
                  </a:lnTo>
                  <a:lnTo>
                    <a:pt x="304" y="165"/>
                  </a:lnTo>
                  <a:lnTo>
                    <a:pt x="303" y="164"/>
                  </a:lnTo>
                  <a:lnTo>
                    <a:pt x="303" y="164"/>
                  </a:lnTo>
                  <a:lnTo>
                    <a:pt x="303" y="162"/>
                  </a:lnTo>
                  <a:lnTo>
                    <a:pt x="302" y="158"/>
                  </a:lnTo>
                  <a:lnTo>
                    <a:pt x="300" y="153"/>
                  </a:lnTo>
                  <a:lnTo>
                    <a:pt x="300" y="152"/>
                  </a:lnTo>
                  <a:lnTo>
                    <a:pt x="299" y="152"/>
                  </a:lnTo>
                  <a:lnTo>
                    <a:pt x="298" y="153"/>
                  </a:lnTo>
                  <a:lnTo>
                    <a:pt x="298" y="153"/>
                  </a:lnTo>
                  <a:lnTo>
                    <a:pt x="297" y="153"/>
                  </a:lnTo>
                  <a:lnTo>
                    <a:pt x="295" y="153"/>
                  </a:lnTo>
                  <a:lnTo>
                    <a:pt x="295" y="153"/>
                  </a:lnTo>
                  <a:lnTo>
                    <a:pt x="295" y="151"/>
                  </a:lnTo>
                  <a:lnTo>
                    <a:pt x="294" y="149"/>
                  </a:lnTo>
                  <a:lnTo>
                    <a:pt x="294" y="147"/>
                  </a:lnTo>
                  <a:lnTo>
                    <a:pt x="294" y="139"/>
                  </a:lnTo>
                  <a:lnTo>
                    <a:pt x="295" y="131"/>
                  </a:lnTo>
                  <a:lnTo>
                    <a:pt x="298" y="121"/>
                  </a:lnTo>
                  <a:lnTo>
                    <a:pt x="303" y="99"/>
                  </a:lnTo>
                  <a:lnTo>
                    <a:pt x="299" y="105"/>
                  </a:lnTo>
                  <a:lnTo>
                    <a:pt x="297" y="112"/>
                  </a:lnTo>
                  <a:lnTo>
                    <a:pt x="294" y="117"/>
                  </a:lnTo>
                  <a:lnTo>
                    <a:pt x="293" y="121"/>
                  </a:lnTo>
                  <a:lnTo>
                    <a:pt x="293" y="125"/>
                  </a:lnTo>
                  <a:lnTo>
                    <a:pt x="293" y="127"/>
                  </a:lnTo>
                  <a:lnTo>
                    <a:pt x="294" y="129"/>
                  </a:lnTo>
                  <a:lnTo>
                    <a:pt x="295" y="130"/>
                  </a:lnTo>
                  <a:lnTo>
                    <a:pt x="295" y="131"/>
                  </a:lnTo>
                  <a:lnTo>
                    <a:pt x="295" y="130"/>
                  </a:lnTo>
                  <a:lnTo>
                    <a:pt x="294" y="130"/>
                  </a:lnTo>
                  <a:lnTo>
                    <a:pt x="293" y="127"/>
                  </a:lnTo>
                  <a:lnTo>
                    <a:pt x="291" y="125"/>
                  </a:lnTo>
                  <a:lnTo>
                    <a:pt x="291" y="121"/>
                  </a:lnTo>
                  <a:lnTo>
                    <a:pt x="291" y="116"/>
                  </a:lnTo>
                  <a:lnTo>
                    <a:pt x="297" y="102"/>
                  </a:lnTo>
                  <a:lnTo>
                    <a:pt x="307" y="86"/>
                  </a:lnTo>
                  <a:lnTo>
                    <a:pt x="307" y="86"/>
                  </a:lnTo>
                  <a:lnTo>
                    <a:pt x="307" y="83"/>
                  </a:lnTo>
                  <a:lnTo>
                    <a:pt x="308" y="81"/>
                  </a:lnTo>
                  <a:lnTo>
                    <a:pt x="310" y="77"/>
                  </a:lnTo>
                  <a:lnTo>
                    <a:pt x="311" y="76"/>
                  </a:lnTo>
                  <a:lnTo>
                    <a:pt x="306" y="82"/>
                  </a:lnTo>
                  <a:lnTo>
                    <a:pt x="300" y="86"/>
                  </a:lnTo>
                  <a:lnTo>
                    <a:pt x="298" y="90"/>
                  </a:lnTo>
                  <a:lnTo>
                    <a:pt x="295" y="93"/>
                  </a:lnTo>
                  <a:lnTo>
                    <a:pt x="293" y="94"/>
                  </a:lnTo>
                  <a:lnTo>
                    <a:pt x="293" y="95"/>
                  </a:lnTo>
                  <a:lnTo>
                    <a:pt x="293" y="94"/>
                  </a:lnTo>
                  <a:lnTo>
                    <a:pt x="294" y="93"/>
                  </a:lnTo>
                  <a:lnTo>
                    <a:pt x="297" y="89"/>
                  </a:lnTo>
                  <a:lnTo>
                    <a:pt x="299" y="85"/>
                  </a:lnTo>
                  <a:lnTo>
                    <a:pt x="303" y="80"/>
                  </a:lnTo>
                  <a:lnTo>
                    <a:pt x="313" y="67"/>
                  </a:lnTo>
                  <a:lnTo>
                    <a:pt x="328" y="51"/>
                  </a:lnTo>
                  <a:lnTo>
                    <a:pt x="334" y="42"/>
                  </a:lnTo>
                  <a:lnTo>
                    <a:pt x="328" y="47"/>
                  </a:lnTo>
                  <a:lnTo>
                    <a:pt x="328" y="47"/>
                  </a:lnTo>
                  <a:lnTo>
                    <a:pt x="322" y="51"/>
                  </a:lnTo>
                  <a:lnTo>
                    <a:pt x="319" y="54"/>
                  </a:lnTo>
                  <a:lnTo>
                    <a:pt x="316" y="56"/>
                  </a:lnTo>
                  <a:lnTo>
                    <a:pt x="313" y="59"/>
                  </a:lnTo>
                  <a:lnTo>
                    <a:pt x="311" y="62"/>
                  </a:lnTo>
                  <a:lnTo>
                    <a:pt x="310" y="62"/>
                  </a:lnTo>
                  <a:lnTo>
                    <a:pt x="310" y="63"/>
                  </a:lnTo>
                  <a:lnTo>
                    <a:pt x="310" y="62"/>
                  </a:lnTo>
                  <a:lnTo>
                    <a:pt x="311" y="60"/>
                  </a:lnTo>
                  <a:lnTo>
                    <a:pt x="313" y="56"/>
                  </a:lnTo>
                  <a:lnTo>
                    <a:pt x="317" y="52"/>
                  </a:lnTo>
                  <a:lnTo>
                    <a:pt x="317" y="50"/>
                  </a:lnTo>
                  <a:lnTo>
                    <a:pt x="320" y="46"/>
                  </a:lnTo>
                  <a:lnTo>
                    <a:pt x="322" y="42"/>
                  </a:lnTo>
                  <a:lnTo>
                    <a:pt x="331" y="33"/>
                  </a:lnTo>
                  <a:lnTo>
                    <a:pt x="344" y="23"/>
                  </a:lnTo>
                  <a:lnTo>
                    <a:pt x="355" y="16"/>
                  </a:lnTo>
                  <a:lnTo>
                    <a:pt x="368" y="11"/>
                  </a:lnTo>
                  <a:lnTo>
                    <a:pt x="373" y="7"/>
                  </a:lnTo>
                  <a:lnTo>
                    <a:pt x="384" y="3"/>
                  </a:lnTo>
                  <a:lnTo>
                    <a:pt x="396" y="1"/>
                  </a:lnTo>
                  <a:lnTo>
                    <a:pt x="401" y="1"/>
                  </a:lnTo>
                  <a:lnTo>
                    <a:pt x="406" y="1"/>
                  </a:lnTo>
                  <a:lnTo>
                    <a:pt x="411" y="0"/>
                  </a:lnTo>
                  <a:lnTo>
                    <a:pt x="417" y="0"/>
                  </a:ln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896386"/>
              <a:endParaRPr lang="en-US" kern="0" dirty="0">
                <a:solidFill>
                  <a:sysClr val="windowText" lastClr="000000"/>
                </a:solidFill>
              </a:endParaRPr>
            </a:p>
          </p:txBody>
        </p:sp>
      </p:grpSp>
    </p:spTree>
    <p:extLst>
      <p:ext uri="{BB962C8B-B14F-4D97-AF65-F5344CB8AC3E}">
        <p14:creationId xmlns:p14="http://schemas.microsoft.com/office/powerpoint/2010/main" val="23821132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410956" y="1366455"/>
            <a:ext cx="7819760" cy="4230221"/>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21" name="Freeform 17"/>
          <p:cNvSpPr>
            <a:spLocks noEditPoints="1"/>
          </p:cNvSpPr>
          <p:nvPr/>
        </p:nvSpPr>
        <p:spPr bwMode="auto">
          <a:xfrm>
            <a:off x="6857071" y="3234913"/>
            <a:ext cx="409851" cy="496159"/>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2" name="Freeform 18"/>
          <p:cNvSpPr>
            <a:spLocks noEditPoints="1"/>
          </p:cNvSpPr>
          <p:nvPr/>
        </p:nvSpPr>
        <p:spPr bwMode="auto">
          <a:xfrm>
            <a:off x="12390911" y="3174986"/>
            <a:ext cx="619564" cy="619627"/>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3" name="Freeform 19"/>
          <p:cNvSpPr>
            <a:spLocks noEditPoints="1"/>
          </p:cNvSpPr>
          <p:nvPr/>
        </p:nvSpPr>
        <p:spPr bwMode="auto">
          <a:xfrm>
            <a:off x="10509328" y="3174985"/>
            <a:ext cx="619564" cy="616647"/>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4" name="Freeform 20"/>
          <p:cNvSpPr>
            <a:spLocks noEditPoints="1"/>
          </p:cNvSpPr>
          <p:nvPr/>
        </p:nvSpPr>
        <p:spPr bwMode="auto">
          <a:xfrm>
            <a:off x="8595402" y="3254064"/>
            <a:ext cx="737643" cy="456207"/>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6" name="Group 15"/>
          <p:cNvGrpSpPr/>
          <p:nvPr/>
        </p:nvGrpSpPr>
        <p:grpSpPr>
          <a:xfrm>
            <a:off x="4649467" y="2324658"/>
            <a:ext cx="484899" cy="481190"/>
            <a:chOff x="347679" y="2370775"/>
            <a:chExt cx="494622" cy="490839"/>
          </a:xfrm>
        </p:grpSpPr>
        <p:sp>
          <p:nvSpPr>
            <p:cNvPr id="6" name="Freeform 5"/>
            <p:cNvSpPr>
              <a:spLocks noEditPoints="1"/>
            </p:cNvSpPr>
            <p:nvPr/>
          </p:nvSpPr>
          <p:spPr bwMode="auto">
            <a:xfrm>
              <a:off x="347679" y="2370775"/>
              <a:ext cx="494622" cy="490839"/>
            </a:xfrm>
            <a:custGeom>
              <a:avLst/>
              <a:gdLst>
                <a:gd name="T0" fmla="*/ 3104 w 3484"/>
                <a:gd name="T1" fmla="*/ 552 h 3460"/>
                <a:gd name="T2" fmla="*/ 2840 w 3484"/>
                <a:gd name="T3" fmla="*/ 0 h 3460"/>
                <a:gd name="T4" fmla="*/ 2540 w 3484"/>
                <a:gd name="T5" fmla="*/ 0 h 3460"/>
                <a:gd name="T6" fmla="*/ 2168 w 3484"/>
                <a:gd name="T7" fmla="*/ 368 h 3460"/>
                <a:gd name="T8" fmla="*/ 2076 w 3484"/>
                <a:gd name="T9" fmla="*/ 368 h 3460"/>
                <a:gd name="T10" fmla="*/ 1684 w 3484"/>
                <a:gd name="T11" fmla="*/ 0 h 3460"/>
                <a:gd name="T12" fmla="*/ 1408 w 3484"/>
                <a:gd name="T13" fmla="*/ 0 h 3460"/>
                <a:gd name="T14" fmla="*/ 1040 w 3484"/>
                <a:gd name="T15" fmla="*/ 368 h 3460"/>
                <a:gd name="T16" fmla="*/ 948 w 3484"/>
                <a:gd name="T17" fmla="*/ 368 h 3460"/>
                <a:gd name="T18" fmla="*/ 556 w 3484"/>
                <a:gd name="T19" fmla="*/ 0 h 3460"/>
                <a:gd name="T20" fmla="*/ 0 w 3484"/>
                <a:gd name="T21" fmla="*/ 552 h 3460"/>
                <a:gd name="T22" fmla="*/ 372 w 3484"/>
                <a:gd name="T23" fmla="*/ 920 h 3460"/>
                <a:gd name="T24" fmla="*/ 372 w 3484"/>
                <a:gd name="T25" fmla="*/ 1012 h 3460"/>
                <a:gd name="T26" fmla="*/ 0 w 3484"/>
                <a:gd name="T27" fmla="*/ 1404 h 3460"/>
                <a:gd name="T28" fmla="*/ 372 w 3484"/>
                <a:gd name="T29" fmla="*/ 1684 h 3460"/>
                <a:gd name="T30" fmla="*/ 372 w 3484"/>
                <a:gd name="T31" fmla="*/ 1776 h 3460"/>
                <a:gd name="T32" fmla="*/ 0 w 3484"/>
                <a:gd name="T33" fmla="*/ 2052 h 3460"/>
                <a:gd name="T34" fmla="*/ 372 w 3484"/>
                <a:gd name="T35" fmla="*/ 2444 h 3460"/>
                <a:gd name="T36" fmla="*/ 372 w 3484"/>
                <a:gd name="T37" fmla="*/ 2536 h 3460"/>
                <a:gd name="T38" fmla="*/ 0 w 3484"/>
                <a:gd name="T39" fmla="*/ 2904 h 3460"/>
                <a:gd name="T40" fmla="*/ 556 w 3484"/>
                <a:gd name="T41" fmla="*/ 3460 h 3460"/>
                <a:gd name="T42" fmla="*/ 948 w 3484"/>
                <a:gd name="T43" fmla="*/ 3112 h 3460"/>
                <a:gd name="T44" fmla="*/ 1040 w 3484"/>
                <a:gd name="T45" fmla="*/ 3112 h 3460"/>
                <a:gd name="T46" fmla="*/ 1408 w 3484"/>
                <a:gd name="T47" fmla="*/ 3460 h 3460"/>
                <a:gd name="T48" fmla="*/ 1684 w 3484"/>
                <a:gd name="T49" fmla="*/ 3460 h 3460"/>
                <a:gd name="T50" fmla="*/ 2076 w 3484"/>
                <a:gd name="T51" fmla="*/ 3112 h 3460"/>
                <a:gd name="T52" fmla="*/ 2168 w 3484"/>
                <a:gd name="T53" fmla="*/ 3112 h 3460"/>
                <a:gd name="T54" fmla="*/ 2540 w 3484"/>
                <a:gd name="T55" fmla="*/ 3460 h 3460"/>
                <a:gd name="T56" fmla="*/ 2840 w 3484"/>
                <a:gd name="T57" fmla="*/ 3460 h 3460"/>
                <a:gd name="T58" fmla="*/ 3106 w 3484"/>
                <a:gd name="T59" fmla="*/ 2904 h 3460"/>
                <a:gd name="T60" fmla="*/ 3116 w 3484"/>
                <a:gd name="T61" fmla="*/ 2812 h 3460"/>
                <a:gd name="T62" fmla="*/ 3484 w 3484"/>
                <a:gd name="T63" fmla="*/ 2444 h 3460"/>
                <a:gd name="T64" fmla="*/ 3484 w 3484"/>
                <a:gd name="T65" fmla="*/ 2144 h 3460"/>
                <a:gd name="T66" fmla="*/ 3116 w 3484"/>
                <a:gd name="T67" fmla="*/ 1954 h 3460"/>
                <a:gd name="T68" fmla="*/ 3484 w 3484"/>
                <a:gd name="T69" fmla="*/ 1684 h 3460"/>
                <a:gd name="T70" fmla="*/ 3116 w 3484"/>
                <a:gd name="T71" fmla="*/ 1404 h 3460"/>
                <a:gd name="T72" fmla="*/ 3116 w 3484"/>
                <a:gd name="T73" fmla="*/ 1312 h 3460"/>
                <a:gd name="T74" fmla="*/ 3484 w 3484"/>
                <a:gd name="T75" fmla="*/ 920 h 3460"/>
                <a:gd name="T76" fmla="*/ 3484 w 3484"/>
                <a:gd name="T77" fmla="*/ 644 h 3460"/>
                <a:gd name="T78" fmla="*/ 2871 w 3484"/>
                <a:gd name="T79" fmla="*/ 3020 h 3460"/>
                <a:gd name="T80" fmla="*/ 464 w 3484"/>
                <a:gd name="T81" fmla="*/ 1901 h 3460"/>
                <a:gd name="T82" fmla="*/ 614 w 3484"/>
                <a:gd name="T83" fmla="*/ 460 h 3460"/>
                <a:gd name="T84" fmla="*/ 3024 w 3484"/>
                <a:gd name="T85" fmla="*/ 1570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84" h="3460">
                  <a:moveTo>
                    <a:pt x="3484" y="644"/>
                  </a:moveTo>
                  <a:cubicBezTo>
                    <a:pt x="3484" y="552"/>
                    <a:pt x="3484" y="552"/>
                    <a:pt x="3484" y="552"/>
                  </a:cubicBezTo>
                  <a:cubicBezTo>
                    <a:pt x="3104" y="552"/>
                    <a:pt x="3104" y="552"/>
                    <a:pt x="3104" y="552"/>
                  </a:cubicBezTo>
                  <a:cubicBezTo>
                    <a:pt x="3083" y="460"/>
                    <a:pt x="3024" y="391"/>
                    <a:pt x="2932" y="371"/>
                  </a:cubicBezTo>
                  <a:cubicBezTo>
                    <a:pt x="2932" y="0"/>
                    <a:pt x="2932" y="0"/>
                    <a:pt x="2932" y="0"/>
                  </a:cubicBezTo>
                  <a:cubicBezTo>
                    <a:pt x="2840" y="0"/>
                    <a:pt x="2840" y="0"/>
                    <a:pt x="2840" y="0"/>
                  </a:cubicBezTo>
                  <a:cubicBezTo>
                    <a:pt x="2840" y="368"/>
                    <a:pt x="2840" y="368"/>
                    <a:pt x="2840" y="368"/>
                  </a:cubicBezTo>
                  <a:cubicBezTo>
                    <a:pt x="2540" y="368"/>
                    <a:pt x="2540" y="368"/>
                    <a:pt x="2540" y="368"/>
                  </a:cubicBezTo>
                  <a:cubicBezTo>
                    <a:pt x="2540" y="0"/>
                    <a:pt x="2540" y="0"/>
                    <a:pt x="2540" y="0"/>
                  </a:cubicBezTo>
                  <a:cubicBezTo>
                    <a:pt x="2448" y="0"/>
                    <a:pt x="2448" y="0"/>
                    <a:pt x="2448" y="0"/>
                  </a:cubicBezTo>
                  <a:cubicBezTo>
                    <a:pt x="2448" y="368"/>
                    <a:pt x="2448" y="368"/>
                    <a:pt x="2448" y="368"/>
                  </a:cubicBezTo>
                  <a:cubicBezTo>
                    <a:pt x="2168" y="368"/>
                    <a:pt x="2168" y="368"/>
                    <a:pt x="2168" y="368"/>
                  </a:cubicBezTo>
                  <a:cubicBezTo>
                    <a:pt x="2168" y="0"/>
                    <a:pt x="2168" y="0"/>
                    <a:pt x="2168" y="0"/>
                  </a:cubicBezTo>
                  <a:cubicBezTo>
                    <a:pt x="2076" y="0"/>
                    <a:pt x="2076" y="0"/>
                    <a:pt x="2076" y="0"/>
                  </a:cubicBezTo>
                  <a:cubicBezTo>
                    <a:pt x="2076" y="368"/>
                    <a:pt x="2076" y="368"/>
                    <a:pt x="2076" y="368"/>
                  </a:cubicBezTo>
                  <a:cubicBezTo>
                    <a:pt x="1776" y="368"/>
                    <a:pt x="1776" y="368"/>
                    <a:pt x="1776" y="368"/>
                  </a:cubicBezTo>
                  <a:cubicBezTo>
                    <a:pt x="1776" y="0"/>
                    <a:pt x="1776" y="0"/>
                    <a:pt x="1776" y="0"/>
                  </a:cubicBezTo>
                  <a:cubicBezTo>
                    <a:pt x="1684" y="0"/>
                    <a:pt x="1684" y="0"/>
                    <a:pt x="1684" y="0"/>
                  </a:cubicBezTo>
                  <a:cubicBezTo>
                    <a:pt x="1684" y="368"/>
                    <a:pt x="1684" y="368"/>
                    <a:pt x="1684" y="368"/>
                  </a:cubicBezTo>
                  <a:cubicBezTo>
                    <a:pt x="1408" y="368"/>
                    <a:pt x="1408" y="368"/>
                    <a:pt x="1408" y="368"/>
                  </a:cubicBezTo>
                  <a:cubicBezTo>
                    <a:pt x="1408" y="0"/>
                    <a:pt x="1408" y="0"/>
                    <a:pt x="1408" y="0"/>
                  </a:cubicBezTo>
                  <a:cubicBezTo>
                    <a:pt x="1316" y="0"/>
                    <a:pt x="1316" y="0"/>
                    <a:pt x="1316" y="0"/>
                  </a:cubicBezTo>
                  <a:cubicBezTo>
                    <a:pt x="1316" y="368"/>
                    <a:pt x="1316" y="368"/>
                    <a:pt x="1316" y="368"/>
                  </a:cubicBezTo>
                  <a:cubicBezTo>
                    <a:pt x="1040" y="368"/>
                    <a:pt x="1040" y="368"/>
                    <a:pt x="1040" y="368"/>
                  </a:cubicBezTo>
                  <a:cubicBezTo>
                    <a:pt x="1040" y="0"/>
                    <a:pt x="1040" y="0"/>
                    <a:pt x="1040" y="0"/>
                  </a:cubicBezTo>
                  <a:cubicBezTo>
                    <a:pt x="948" y="0"/>
                    <a:pt x="948" y="0"/>
                    <a:pt x="948" y="0"/>
                  </a:cubicBezTo>
                  <a:cubicBezTo>
                    <a:pt x="948" y="368"/>
                    <a:pt x="948" y="368"/>
                    <a:pt x="948" y="368"/>
                  </a:cubicBezTo>
                  <a:cubicBezTo>
                    <a:pt x="648" y="368"/>
                    <a:pt x="648" y="368"/>
                    <a:pt x="648" y="368"/>
                  </a:cubicBezTo>
                  <a:cubicBezTo>
                    <a:pt x="648" y="0"/>
                    <a:pt x="648" y="0"/>
                    <a:pt x="648" y="0"/>
                  </a:cubicBezTo>
                  <a:cubicBezTo>
                    <a:pt x="556" y="0"/>
                    <a:pt x="556" y="0"/>
                    <a:pt x="556" y="0"/>
                  </a:cubicBezTo>
                  <a:cubicBezTo>
                    <a:pt x="556" y="371"/>
                    <a:pt x="556" y="371"/>
                    <a:pt x="556" y="371"/>
                  </a:cubicBezTo>
                  <a:cubicBezTo>
                    <a:pt x="464" y="391"/>
                    <a:pt x="401" y="460"/>
                    <a:pt x="380" y="552"/>
                  </a:cubicBezTo>
                  <a:cubicBezTo>
                    <a:pt x="0" y="552"/>
                    <a:pt x="0" y="552"/>
                    <a:pt x="0" y="552"/>
                  </a:cubicBezTo>
                  <a:cubicBezTo>
                    <a:pt x="0" y="644"/>
                    <a:pt x="0" y="644"/>
                    <a:pt x="0" y="644"/>
                  </a:cubicBezTo>
                  <a:cubicBezTo>
                    <a:pt x="372" y="644"/>
                    <a:pt x="372" y="644"/>
                    <a:pt x="372" y="644"/>
                  </a:cubicBezTo>
                  <a:cubicBezTo>
                    <a:pt x="372" y="920"/>
                    <a:pt x="372" y="920"/>
                    <a:pt x="372" y="920"/>
                  </a:cubicBezTo>
                  <a:cubicBezTo>
                    <a:pt x="0" y="920"/>
                    <a:pt x="0" y="920"/>
                    <a:pt x="0" y="920"/>
                  </a:cubicBezTo>
                  <a:cubicBezTo>
                    <a:pt x="0" y="1012"/>
                    <a:pt x="0" y="1012"/>
                    <a:pt x="0" y="1012"/>
                  </a:cubicBezTo>
                  <a:cubicBezTo>
                    <a:pt x="372" y="1012"/>
                    <a:pt x="372" y="1012"/>
                    <a:pt x="372" y="1012"/>
                  </a:cubicBezTo>
                  <a:cubicBezTo>
                    <a:pt x="372" y="1312"/>
                    <a:pt x="372" y="1312"/>
                    <a:pt x="372" y="1312"/>
                  </a:cubicBezTo>
                  <a:cubicBezTo>
                    <a:pt x="0" y="1312"/>
                    <a:pt x="0" y="1312"/>
                    <a:pt x="0" y="1312"/>
                  </a:cubicBezTo>
                  <a:cubicBezTo>
                    <a:pt x="0" y="1404"/>
                    <a:pt x="0" y="1404"/>
                    <a:pt x="0" y="1404"/>
                  </a:cubicBezTo>
                  <a:cubicBezTo>
                    <a:pt x="372" y="1404"/>
                    <a:pt x="372" y="1404"/>
                    <a:pt x="372" y="1404"/>
                  </a:cubicBezTo>
                  <a:cubicBezTo>
                    <a:pt x="372" y="1517"/>
                    <a:pt x="372" y="1517"/>
                    <a:pt x="372" y="1517"/>
                  </a:cubicBezTo>
                  <a:cubicBezTo>
                    <a:pt x="372" y="1684"/>
                    <a:pt x="372" y="1684"/>
                    <a:pt x="372" y="1684"/>
                  </a:cubicBezTo>
                  <a:cubicBezTo>
                    <a:pt x="0" y="1684"/>
                    <a:pt x="0" y="1684"/>
                    <a:pt x="0" y="1684"/>
                  </a:cubicBezTo>
                  <a:cubicBezTo>
                    <a:pt x="0" y="1776"/>
                    <a:pt x="0" y="1776"/>
                    <a:pt x="0" y="1776"/>
                  </a:cubicBezTo>
                  <a:cubicBezTo>
                    <a:pt x="372" y="1776"/>
                    <a:pt x="372" y="1776"/>
                    <a:pt x="372" y="1776"/>
                  </a:cubicBezTo>
                  <a:cubicBezTo>
                    <a:pt x="372" y="1901"/>
                    <a:pt x="372" y="1901"/>
                    <a:pt x="372" y="1901"/>
                  </a:cubicBezTo>
                  <a:cubicBezTo>
                    <a:pt x="372" y="2052"/>
                    <a:pt x="372" y="2052"/>
                    <a:pt x="372" y="2052"/>
                  </a:cubicBezTo>
                  <a:cubicBezTo>
                    <a:pt x="0" y="2052"/>
                    <a:pt x="0" y="2052"/>
                    <a:pt x="0" y="2052"/>
                  </a:cubicBezTo>
                  <a:cubicBezTo>
                    <a:pt x="0" y="2144"/>
                    <a:pt x="0" y="2144"/>
                    <a:pt x="0" y="2144"/>
                  </a:cubicBezTo>
                  <a:cubicBezTo>
                    <a:pt x="372" y="2144"/>
                    <a:pt x="372" y="2144"/>
                    <a:pt x="372" y="2144"/>
                  </a:cubicBezTo>
                  <a:cubicBezTo>
                    <a:pt x="372" y="2444"/>
                    <a:pt x="372" y="2444"/>
                    <a:pt x="372" y="2444"/>
                  </a:cubicBezTo>
                  <a:cubicBezTo>
                    <a:pt x="0" y="2444"/>
                    <a:pt x="0" y="2444"/>
                    <a:pt x="0" y="2444"/>
                  </a:cubicBezTo>
                  <a:cubicBezTo>
                    <a:pt x="0" y="2536"/>
                    <a:pt x="0" y="2536"/>
                    <a:pt x="0" y="2536"/>
                  </a:cubicBezTo>
                  <a:cubicBezTo>
                    <a:pt x="372" y="2536"/>
                    <a:pt x="372" y="2536"/>
                    <a:pt x="372" y="2536"/>
                  </a:cubicBezTo>
                  <a:cubicBezTo>
                    <a:pt x="372" y="2812"/>
                    <a:pt x="372" y="2812"/>
                    <a:pt x="372" y="2812"/>
                  </a:cubicBezTo>
                  <a:cubicBezTo>
                    <a:pt x="0" y="2812"/>
                    <a:pt x="0" y="2812"/>
                    <a:pt x="0" y="2812"/>
                  </a:cubicBezTo>
                  <a:cubicBezTo>
                    <a:pt x="0" y="2904"/>
                    <a:pt x="0" y="2904"/>
                    <a:pt x="0" y="2904"/>
                  </a:cubicBezTo>
                  <a:cubicBezTo>
                    <a:pt x="378" y="2904"/>
                    <a:pt x="378" y="2904"/>
                    <a:pt x="378" y="2904"/>
                  </a:cubicBezTo>
                  <a:cubicBezTo>
                    <a:pt x="396" y="2996"/>
                    <a:pt x="464" y="3079"/>
                    <a:pt x="556" y="3100"/>
                  </a:cubicBezTo>
                  <a:cubicBezTo>
                    <a:pt x="556" y="3460"/>
                    <a:pt x="556" y="3460"/>
                    <a:pt x="556" y="3460"/>
                  </a:cubicBezTo>
                  <a:cubicBezTo>
                    <a:pt x="648" y="3460"/>
                    <a:pt x="648" y="3460"/>
                    <a:pt x="648" y="3460"/>
                  </a:cubicBezTo>
                  <a:cubicBezTo>
                    <a:pt x="648" y="3112"/>
                    <a:pt x="648" y="3112"/>
                    <a:pt x="648" y="3112"/>
                  </a:cubicBezTo>
                  <a:cubicBezTo>
                    <a:pt x="948" y="3112"/>
                    <a:pt x="948" y="3112"/>
                    <a:pt x="948" y="3112"/>
                  </a:cubicBezTo>
                  <a:cubicBezTo>
                    <a:pt x="948" y="3460"/>
                    <a:pt x="948" y="3460"/>
                    <a:pt x="948" y="3460"/>
                  </a:cubicBezTo>
                  <a:cubicBezTo>
                    <a:pt x="1040" y="3460"/>
                    <a:pt x="1040" y="3460"/>
                    <a:pt x="1040" y="3460"/>
                  </a:cubicBezTo>
                  <a:cubicBezTo>
                    <a:pt x="1040" y="3112"/>
                    <a:pt x="1040" y="3112"/>
                    <a:pt x="1040" y="3112"/>
                  </a:cubicBezTo>
                  <a:cubicBezTo>
                    <a:pt x="1316" y="3112"/>
                    <a:pt x="1316" y="3112"/>
                    <a:pt x="1316" y="3112"/>
                  </a:cubicBezTo>
                  <a:cubicBezTo>
                    <a:pt x="1316" y="3460"/>
                    <a:pt x="1316" y="3460"/>
                    <a:pt x="1316" y="3460"/>
                  </a:cubicBezTo>
                  <a:cubicBezTo>
                    <a:pt x="1408" y="3460"/>
                    <a:pt x="1408" y="3460"/>
                    <a:pt x="1408" y="3460"/>
                  </a:cubicBezTo>
                  <a:cubicBezTo>
                    <a:pt x="1408" y="3112"/>
                    <a:pt x="1408" y="3112"/>
                    <a:pt x="1408" y="3112"/>
                  </a:cubicBezTo>
                  <a:cubicBezTo>
                    <a:pt x="1684" y="3112"/>
                    <a:pt x="1684" y="3112"/>
                    <a:pt x="1684" y="3112"/>
                  </a:cubicBezTo>
                  <a:cubicBezTo>
                    <a:pt x="1684" y="3460"/>
                    <a:pt x="1684" y="3460"/>
                    <a:pt x="1684" y="3460"/>
                  </a:cubicBezTo>
                  <a:cubicBezTo>
                    <a:pt x="1776" y="3460"/>
                    <a:pt x="1776" y="3460"/>
                    <a:pt x="1776" y="3460"/>
                  </a:cubicBezTo>
                  <a:cubicBezTo>
                    <a:pt x="1776" y="3112"/>
                    <a:pt x="1776" y="3112"/>
                    <a:pt x="1776" y="3112"/>
                  </a:cubicBezTo>
                  <a:cubicBezTo>
                    <a:pt x="2076" y="3112"/>
                    <a:pt x="2076" y="3112"/>
                    <a:pt x="2076" y="3112"/>
                  </a:cubicBezTo>
                  <a:cubicBezTo>
                    <a:pt x="2076" y="3460"/>
                    <a:pt x="2076" y="3460"/>
                    <a:pt x="2076" y="3460"/>
                  </a:cubicBezTo>
                  <a:cubicBezTo>
                    <a:pt x="2168" y="3460"/>
                    <a:pt x="2168" y="3460"/>
                    <a:pt x="2168" y="3460"/>
                  </a:cubicBezTo>
                  <a:cubicBezTo>
                    <a:pt x="2168" y="3112"/>
                    <a:pt x="2168" y="3112"/>
                    <a:pt x="2168" y="3112"/>
                  </a:cubicBezTo>
                  <a:cubicBezTo>
                    <a:pt x="2448" y="3112"/>
                    <a:pt x="2448" y="3112"/>
                    <a:pt x="2448" y="3112"/>
                  </a:cubicBezTo>
                  <a:cubicBezTo>
                    <a:pt x="2448" y="3460"/>
                    <a:pt x="2448" y="3460"/>
                    <a:pt x="2448" y="3460"/>
                  </a:cubicBezTo>
                  <a:cubicBezTo>
                    <a:pt x="2540" y="3460"/>
                    <a:pt x="2540" y="3460"/>
                    <a:pt x="2540" y="3460"/>
                  </a:cubicBezTo>
                  <a:cubicBezTo>
                    <a:pt x="2540" y="3112"/>
                    <a:pt x="2540" y="3112"/>
                    <a:pt x="2540" y="3112"/>
                  </a:cubicBezTo>
                  <a:cubicBezTo>
                    <a:pt x="2840" y="3112"/>
                    <a:pt x="2840" y="3112"/>
                    <a:pt x="2840" y="3112"/>
                  </a:cubicBezTo>
                  <a:cubicBezTo>
                    <a:pt x="2840" y="3460"/>
                    <a:pt x="2840" y="3460"/>
                    <a:pt x="2840" y="3460"/>
                  </a:cubicBezTo>
                  <a:cubicBezTo>
                    <a:pt x="2932" y="3460"/>
                    <a:pt x="2932" y="3460"/>
                    <a:pt x="2932" y="3460"/>
                  </a:cubicBezTo>
                  <a:cubicBezTo>
                    <a:pt x="2932" y="3100"/>
                    <a:pt x="2932" y="3100"/>
                    <a:pt x="2932" y="3100"/>
                  </a:cubicBezTo>
                  <a:cubicBezTo>
                    <a:pt x="3024" y="3079"/>
                    <a:pt x="3088" y="2996"/>
                    <a:pt x="3106" y="2904"/>
                  </a:cubicBezTo>
                  <a:cubicBezTo>
                    <a:pt x="3484" y="2904"/>
                    <a:pt x="3484" y="2904"/>
                    <a:pt x="3484" y="2904"/>
                  </a:cubicBezTo>
                  <a:cubicBezTo>
                    <a:pt x="3484" y="2812"/>
                    <a:pt x="3484" y="2812"/>
                    <a:pt x="3484" y="2812"/>
                  </a:cubicBezTo>
                  <a:cubicBezTo>
                    <a:pt x="3116" y="2812"/>
                    <a:pt x="3116" y="2812"/>
                    <a:pt x="3116" y="2812"/>
                  </a:cubicBezTo>
                  <a:cubicBezTo>
                    <a:pt x="3116" y="2536"/>
                    <a:pt x="3116" y="2536"/>
                    <a:pt x="3116" y="2536"/>
                  </a:cubicBezTo>
                  <a:cubicBezTo>
                    <a:pt x="3484" y="2536"/>
                    <a:pt x="3484" y="2536"/>
                    <a:pt x="3484" y="2536"/>
                  </a:cubicBezTo>
                  <a:cubicBezTo>
                    <a:pt x="3484" y="2444"/>
                    <a:pt x="3484" y="2444"/>
                    <a:pt x="3484" y="2444"/>
                  </a:cubicBezTo>
                  <a:cubicBezTo>
                    <a:pt x="3116" y="2444"/>
                    <a:pt x="3116" y="2444"/>
                    <a:pt x="3116" y="2444"/>
                  </a:cubicBezTo>
                  <a:cubicBezTo>
                    <a:pt x="3116" y="2144"/>
                    <a:pt x="3116" y="2144"/>
                    <a:pt x="3116" y="2144"/>
                  </a:cubicBezTo>
                  <a:cubicBezTo>
                    <a:pt x="3484" y="2144"/>
                    <a:pt x="3484" y="2144"/>
                    <a:pt x="3484" y="2144"/>
                  </a:cubicBezTo>
                  <a:cubicBezTo>
                    <a:pt x="3484" y="2052"/>
                    <a:pt x="3484" y="2052"/>
                    <a:pt x="3484" y="2052"/>
                  </a:cubicBezTo>
                  <a:cubicBezTo>
                    <a:pt x="3116" y="2052"/>
                    <a:pt x="3116" y="2052"/>
                    <a:pt x="3116" y="2052"/>
                  </a:cubicBezTo>
                  <a:cubicBezTo>
                    <a:pt x="3116" y="1954"/>
                    <a:pt x="3116" y="1954"/>
                    <a:pt x="3116" y="1954"/>
                  </a:cubicBezTo>
                  <a:cubicBezTo>
                    <a:pt x="3116" y="1776"/>
                    <a:pt x="3116" y="1776"/>
                    <a:pt x="3116" y="1776"/>
                  </a:cubicBezTo>
                  <a:cubicBezTo>
                    <a:pt x="3484" y="1776"/>
                    <a:pt x="3484" y="1776"/>
                    <a:pt x="3484" y="1776"/>
                  </a:cubicBezTo>
                  <a:cubicBezTo>
                    <a:pt x="3484" y="1684"/>
                    <a:pt x="3484" y="1684"/>
                    <a:pt x="3484" y="1684"/>
                  </a:cubicBezTo>
                  <a:cubicBezTo>
                    <a:pt x="3116" y="1684"/>
                    <a:pt x="3116" y="1684"/>
                    <a:pt x="3116" y="1684"/>
                  </a:cubicBezTo>
                  <a:cubicBezTo>
                    <a:pt x="3116" y="1570"/>
                    <a:pt x="3116" y="1570"/>
                    <a:pt x="3116" y="1570"/>
                  </a:cubicBezTo>
                  <a:cubicBezTo>
                    <a:pt x="3116" y="1404"/>
                    <a:pt x="3116" y="1404"/>
                    <a:pt x="3116" y="1404"/>
                  </a:cubicBezTo>
                  <a:cubicBezTo>
                    <a:pt x="3484" y="1404"/>
                    <a:pt x="3484" y="1404"/>
                    <a:pt x="3484" y="1404"/>
                  </a:cubicBezTo>
                  <a:cubicBezTo>
                    <a:pt x="3484" y="1312"/>
                    <a:pt x="3484" y="1312"/>
                    <a:pt x="3484" y="1312"/>
                  </a:cubicBezTo>
                  <a:cubicBezTo>
                    <a:pt x="3116" y="1312"/>
                    <a:pt x="3116" y="1312"/>
                    <a:pt x="3116" y="1312"/>
                  </a:cubicBezTo>
                  <a:cubicBezTo>
                    <a:pt x="3116" y="1012"/>
                    <a:pt x="3116" y="1012"/>
                    <a:pt x="3116" y="1012"/>
                  </a:cubicBezTo>
                  <a:cubicBezTo>
                    <a:pt x="3484" y="1012"/>
                    <a:pt x="3484" y="1012"/>
                    <a:pt x="3484" y="1012"/>
                  </a:cubicBezTo>
                  <a:cubicBezTo>
                    <a:pt x="3484" y="920"/>
                    <a:pt x="3484" y="920"/>
                    <a:pt x="3484" y="920"/>
                  </a:cubicBezTo>
                  <a:cubicBezTo>
                    <a:pt x="3116" y="920"/>
                    <a:pt x="3116" y="920"/>
                    <a:pt x="3116" y="920"/>
                  </a:cubicBezTo>
                  <a:cubicBezTo>
                    <a:pt x="3116" y="644"/>
                    <a:pt x="3116" y="644"/>
                    <a:pt x="3116" y="644"/>
                  </a:cubicBezTo>
                  <a:lnTo>
                    <a:pt x="3484" y="644"/>
                  </a:lnTo>
                  <a:close/>
                  <a:moveTo>
                    <a:pt x="3024" y="1954"/>
                  </a:moveTo>
                  <a:cubicBezTo>
                    <a:pt x="3024" y="2866"/>
                    <a:pt x="3024" y="2866"/>
                    <a:pt x="3024" y="2866"/>
                  </a:cubicBezTo>
                  <a:cubicBezTo>
                    <a:pt x="3024" y="2947"/>
                    <a:pt x="2952" y="3020"/>
                    <a:pt x="2871" y="3020"/>
                  </a:cubicBezTo>
                  <a:cubicBezTo>
                    <a:pt x="614" y="3020"/>
                    <a:pt x="614" y="3020"/>
                    <a:pt x="614" y="3020"/>
                  </a:cubicBezTo>
                  <a:cubicBezTo>
                    <a:pt x="532" y="3020"/>
                    <a:pt x="464" y="2947"/>
                    <a:pt x="464" y="2866"/>
                  </a:cubicBezTo>
                  <a:cubicBezTo>
                    <a:pt x="464" y="1901"/>
                    <a:pt x="464" y="1901"/>
                    <a:pt x="464" y="1901"/>
                  </a:cubicBezTo>
                  <a:cubicBezTo>
                    <a:pt x="464" y="1517"/>
                    <a:pt x="464" y="1517"/>
                    <a:pt x="464" y="1517"/>
                  </a:cubicBezTo>
                  <a:cubicBezTo>
                    <a:pt x="464" y="606"/>
                    <a:pt x="464" y="606"/>
                    <a:pt x="464" y="606"/>
                  </a:cubicBezTo>
                  <a:cubicBezTo>
                    <a:pt x="464" y="524"/>
                    <a:pt x="532" y="460"/>
                    <a:pt x="614" y="460"/>
                  </a:cubicBezTo>
                  <a:cubicBezTo>
                    <a:pt x="2871" y="460"/>
                    <a:pt x="2871" y="460"/>
                    <a:pt x="2871" y="460"/>
                  </a:cubicBezTo>
                  <a:cubicBezTo>
                    <a:pt x="2952" y="460"/>
                    <a:pt x="3024" y="524"/>
                    <a:pt x="3024" y="606"/>
                  </a:cubicBezTo>
                  <a:cubicBezTo>
                    <a:pt x="3024" y="1570"/>
                    <a:pt x="3024" y="1570"/>
                    <a:pt x="3024" y="1570"/>
                  </a:cubicBezTo>
                  <a:lnTo>
                    <a:pt x="3024" y="19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 name="Freeform 6"/>
            <p:cNvSpPr>
              <a:spLocks noEditPoints="1"/>
            </p:cNvSpPr>
            <p:nvPr/>
          </p:nvSpPr>
          <p:spPr bwMode="auto">
            <a:xfrm>
              <a:off x="485131" y="2504684"/>
              <a:ext cx="222601" cy="222421"/>
            </a:xfrm>
            <a:custGeom>
              <a:avLst/>
              <a:gdLst>
                <a:gd name="T0" fmla="*/ 1568 w 1568"/>
                <a:gd name="T1" fmla="*/ 386 h 1568"/>
                <a:gd name="T2" fmla="*/ 1182 w 1568"/>
                <a:gd name="T3" fmla="*/ 0 h 1568"/>
                <a:gd name="T4" fmla="*/ 386 w 1568"/>
                <a:gd name="T5" fmla="*/ 0 h 1568"/>
                <a:gd name="T6" fmla="*/ 0 w 1568"/>
                <a:gd name="T7" fmla="*/ 386 h 1568"/>
                <a:gd name="T8" fmla="*/ 0 w 1568"/>
                <a:gd name="T9" fmla="*/ 1182 h 1568"/>
                <a:gd name="T10" fmla="*/ 386 w 1568"/>
                <a:gd name="T11" fmla="*/ 1568 h 1568"/>
                <a:gd name="T12" fmla="*/ 1182 w 1568"/>
                <a:gd name="T13" fmla="*/ 1568 h 1568"/>
                <a:gd name="T14" fmla="*/ 1568 w 1568"/>
                <a:gd name="T15" fmla="*/ 1182 h 1568"/>
                <a:gd name="T16" fmla="*/ 1568 w 1568"/>
                <a:gd name="T17" fmla="*/ 386 h 1568"/>
                <a:gd name="T18" fmla="*/ 1480 w 1568"/>
                <a:gd name="T19" fmla="*/ 1183 h 1568"/>
                <a:gd name="T20" fmla="*/ 1184 w 1568"/>
                <a:gd name="T21" fmla="*/ 1476 h 1568"/>
                <a:gd name="T22" fmla="*/ 388 w 1568"/>
                <a:gd name="T23" fmla="*/ 1476 h 1568"/>
                <a:gd name="T24" fmla="*/ 96 w 1568"/>
                <a:gd name="T25" fmla="*/ 1183 h 1568"/>
                <a:gd name="T26" fmla="*/ 96 w 1568"/>
                <a:gd name="T27" fmla="*/ 386 h 1568"/>
                <a:gd name="T28" fmla="*/ 388 w 1568"/>
                <a:gd name="T29" fmla="*/ 92 h 1568"/>
                <a:gd name="T30" fmla="*/ 1184 w 1568"/>
                <a:gd name="T31" fmla="*/ 92 h 1568"/>
                <a:gd name="T32" fmla="*/ 1480 w 1568"/>
                <a:gd name="T33" fmla="*/ 386 h 1568"/>
                <a:gd name="T34" fmla="*/ 1480 w 1568"/>
                <a:gd name="T35" fmla="*/ 1183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8" h="1568">
                  <a:moveTo>
                    <a:pt x="1568" y="386"/>
                  </a:moveTo>
                  <a:cubicBezTo>
                    <a:pt x="1568" y="173"/>
                    <a:pt x="1395" y="0"/>
                    <a:pt x="1182" y="0"/>
                  </a:cubicBezTo>
                  <a:cubicBezTo>
                    <a:pt x="386" y="0"/>
                    <a:pt x="386" y="0"/>
                    <a:pt x="386" y="0"/>
                  </a:cubicBezTo>
                  <a:cubicBezTo>
                    <a:pt x="173" y="0"/>
                    <a:pt x="0" y="173"/>
                    <a:pt x="0" y="386"/>
                  </a:cubicBezTo>
                  <a:cubicBezTo>
                    <a:pt x="0" y="1182"/>
                    <a:pt x="0" y="1182"/>
                    <a:pt x="0" y="1182"/>
                  </a:cubicBezTo>
                  <a:cubicBezTo>
                    <a:pt x="0" y="1395"/>
                    <a:pt x="173" y="1568"/>
                    <a:pt x="386" y="1568"/>
                  </a:cubicBezTo>
                  <a:cubicBezTo>
                    <a:pt x="1182" y="1568"/>
                    <a:pt x="1182" y="1568"/>
                    <a:pt x="1182" y="1568"/>
                  </a:cubicBezTo>
                  <a:cubicBezTo>
                    <a:pt x="1395" y="1568"/>
                    <a:pt x="1568" y="1395"/>
                    <a:pt x="1568" y="1182"/>
                  </a:cubicBezTo>
                  <a:lnTo>
                    <a:pt x="1568" y="386"/>
                  </a:lnTo>
                  <a:close/>
                  <a:moveTo>
                    <a:pt x="1480" y="1183"/>
                  </a:moveTo>
                  <a:cubicBezTo>
                    <a:pt x="1480" y="1345"/>
                    <a:pt x="1347" y="1476"/>
                    <a:pt x="1184" y="1476"/>
                  </a:cubicBezTo>
                  <a:cubicBezTo>
                    <a:pt x="388" y="1476"/>
                    <a:pt x="388" y="1476"/>
                    <a:pt x="388" y="1476"/>
                  </a:cubicBezTo>
                  <a:cubicBezTo>
                    <a:pt x="226" y="1476"/>
                    <a:pt x="96" y="1345"/>
                    <a:pt x="96" y="1183"/>
                  </a:cubicBezTo>
                  <a:cubicBezTo>
                    <a:pt x="96" y="386"/>
                    <a:pt x="96" y="386"/>
                    <a:pt x="96" y="386"/>
                  </a:cubicBezTo>
                  <a:cubicBezTo>
                    <a:pt x="96" y="224"/>
                    <a:pt x="226" y="92"/>
                    <a:pt x="388" y="92"/>
                  </a:cubicBezTo>
                  <a:cubicBezTo>
                    <a:pt x="1184" y="92"/>
                    <a:pt x="1184" y="92"/>
                    <a:pt x="1184" y="92"/>
                  </a:cubicBezTo>
                  <a:cubicBezTo>
                    <a:pt x="1347" y="92"/>
                    <a:pt x="1480" y="224"/>
                    <a:pt x="1480" y="386"/>
                  </a:cubicBezTo>
                  <a:lnTo>
                    <a:pt x="1480" y="1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8" name="Freeform 7"/>
          <p:cNvSpPr>
            <a:spLocks noEditPoints="1"/>
          </p:cNvSpPr>
          <p:nvPr/>
        </p:nvSpPr>
        <p:spPr bwMode="auto">
          <a:xfrm>
            <a:off x="4730647" y="5144455"/>
            <a:ext cx="322717" cy="452286"/>
          </a:xfrm>
          <a:custGeom>
            <a:avLst/>
            <a:gdLst>
              <a:gd name="T0" fmla="*/ 0 w 5482"/>
              <a:gd name="T1" fmla="*/ 0 h 7683"/>
              <a:gd name="T2" fmla="*/ 0 w 5482"/>
              <a:gd name="T3" fmla="*/ 6450 h 7683"/>
              <a:gd name="T4" fmla="*/ 1219 w 5482"/>
              <a:gd name="T5" fmla="*/ 7683 h 7683"/>
              <a:gd name="T6" fmla="*/ 5482 w 5482"/>
              <a:gd name="T7" fmla="*/ 7683 h 7683"/>
              <a:gd name="T8" fmla="*/ 5482 w 5482"/>
              <a:gd name="T9" fmla="*/ 0 h 7683"/>
              <a:gd name="T10" fmla="*/ 0 w 5482"/>
              <a:gd name="T11" fmla="*/ 0 h 7683"/>
              <a:gd name="T12" fmla="*/ 1137 w 5482"/>
              <a:gd name="T13" fmla="*/ 7272 h 7683"/>
              <a:gd name="T14" fmla="*/ 368 w 5482"/>
              <a:gd name="T15" fmla="*/ 6483 h 7683"/>
              <a:gd name="T16" fmla="*/ 1137 w 5482"/>
              <a:gd name="T17" fmla="*/ 6483 h 7683"/>
              <a:gd name="T18" fmla="*/ 1137 w 5482"/>
              <a:gd name="T19" fmla="*/ 7272 h 7683"/>
              <a:gd name="T20" fmla="*/ 5262 w 5482"/>
              <a:gd name="T21" fmla="*/ 7466 h 7683"/>
              <a:gd name="T22" fmla="*/ 1354 w 5482"/>
              <a:gd name="T23" fmla="*/ 7466 h 7683"/>
              <a:gd name="T24" fmla="*/ 1354 w 5482"/>
              <a:gd name="T25" fmla="*/ 6266 h 7683"/>
              <a:gd name="T26" fmla="*/ 217 w 5482"/>
              <a:gd name="T27" fmla="*/ 6266 h 7683"/>
              <a:gd name="T28" fmla="*/ 217 w 5482"/>
              <a:gd name="T29" fmla="*/ 218 h 7683"/>
              <a:gd name="T30" fmla="*/ 5262 w 5482"/>
              <a:gd name="T31" fmla="*/ 218 h 7683"/>
              <a:gd name="T32" fmla="*/ 5262 w 5482"/>
              <a:gd name="T33" fmla="*/ 7466 h 7683"/>
              <a:gd name="T34" fmla="*/ 4409 w 5482"/>
              <a:gd name="T35" fmla="*/ 1304 h 7683"/>
              <a:gd name="T36" fmla="*/ 1402 w 5482"/>
              <a:gd name="T37" fmla="*/ 1304 h 7683"/>
              <a:gd name="T38" fmla="*/ 1402 w 5482"/>
              <a:gd name="T39" fmla="*/ 1087 h 7683"/>
              <a:gd name="T40" fmla="*/ 4409 w 5482"/>
              <a:gd name="T41" fmla="*/ 1087 h 7683"/>
              <a:gd name="T42" fmla="*/ 4409 w 5482"/>
              <a:gd name="T43" fmla="*/ 1304 h 7683"/>
              <a:gd name="T44" fmla="*/ 2546 w 5482"/>
              <a:gd name="T45" fmla="*/ 2448 h 7683"/>
              <a:gd name="T46" fmla="*/ 4409 w 5482"/>
              <a:gd name="T47" fmla="*/ 2448 h 7683"/>
              <a:gd name="T48" fmla="*/ 4409 w 5482"/>
              <a:gd name="T49" fmla="*/ 2665 h 7683"/>
              <a:gd name="T50" fmla="*/ 2546 w 5482"/>
              <a:gd name="T51" fmla="*/ 2665 h 7683"/>
              <a:gd name="T52" fmla="*/ 2546 w 5482"/>
              <a:gd name="T53" fmla="*/ 2448 h 7683"/>
              <a:gd name="T54" fmla="*/ 4409 w 5482"/>
              <a:gd name="T55" fmla="*/ 1739 h 7683"/>
              <a:gd name="T56" fmla="*/ 967 w 5482"/>
              <a:gd name="T57" fmla="*/ 1739 h 7683"/>
              <a:gd name="T58" fmla="*/ 967 w 5482"/>
              <a:gd name="T59" fmla="*/ 1522 h 7683"/>
              <a:gd name="T60" fmla="*/ 4409 w 5482"/>
              <a:gd name="T61" fmla="*/ 1522 h 7683"/>
              <a:gd name="T62" fmla="*/ 4409 w 5482"/>
              <a:gd name="T63" fmla="*/ 1739 h 7683"/>
              <a:gd name="T64" fmla="*/ 4409 w 5482"/>
              <a:gd name="T65" fmla="*/ 2174 h 7683"/>
              <a:gd name="T66" fmla="*/ 967 w 5482"/>
              <a:gd name="T67" fmla="*/ 2174 h 7683"/>
              <a:gd name="T68" fmla="*/ 967 w 5482"/>
              <a:gd name="T69" fmla="*/ 1956 h 7683"/>
              <a:gd name="T70" fmla="*/ 4409 w 5482"/>
              <a:gd name="T71" fmla="*/ 1956 h 7683"/>
              <a:gd name="T72" fmla="*/ 4409 w 5482"/>
              <a:gd name="T73" fmla="*/ 2174 h 7683"/>
              <a:gd name="T74" fmla="*/ 1402 w 5482"/>
              <a:gd name="T75" fmla="*/ 4083 h 7683"/>
              <a:gd name="T76" fmla="*/ 4409 w 5482"/>
              <a:gd name="T77" fmla="*/ 4083 h 7683"/>
              <a:gd name="T78" fmla="*/ 4409 w 5482"/>
              <a:gd name="T79" fmla="*/ 4300 h 7683"/>
              <a:gd name="T80" fmla="*/ 1402 w 5482"/>
              <a:gd name="T81" fmla="*/ 4300 h 7683"/>
              <a:gd name="T82" fmla="*/ 1402 w 5482"/>
              <a:gd name="T83" fmla="*/ 4083 h 7683"/>
              <a:gd name="T84" fmla="*/ 4409 w 5482"/>
              <a:gd name="T85" fmla="*/ 4735 h 7683"/>
              <a:gd name="T86" fmla="*/ 967 w 5482"/>
              <a:gd name="T87" fmla="*/ 4735 h 7683"/>
              <a:gd name="T88" fmla="*/ 967 w 5482"/>
              <a:gd name="T89" fmla="*/ 4517 h 7683"/>
              <a:gd name="T90" fmla="*/ 4409 w 5482"/>
              <a:gd name="T91" fmla="*/ 4517 h 7683"/>
              <a:gd name="T92" fmla="*/ 4409 w 5482"/>
              <a:gd name="T93" fmla="*/ 4735 h 7683"/>
              <a:gd name="T94" fmla="*/ 4409 w 5482"/>
              <a:gd name="T95" fmla="*/ 5226 h 7683"/>
              <a:gd name="T96" fmla="*/ 967 w 5482"/>
              <a:gd name="T97" fmla="*/ 5226 h 7683"/>
              <a:gd name="T98" fmla="*/ 967 w 5482"/>
              <a:gd name="T99" fmla="*/ 5009 h 7683"/>
              <a:gd name="T100" fmla="*/ 4409 w 5482"/>
              <a:gd name="T101" fmla="*/ 5009 h 7683"/>
              <a:gd name="T102" fmla="*/ 4409 w 5482"/>
              <a:gd name="T103" fmla="*/ 5226 h 7683"/>
              <a:gd name="T104" fmla="*/ 2328 w 5482"/>
              <a:gd name="T105" fmla="*/ 2391 h 7683"/>
              <a:gd name="T106" fmla="*/ 967 w 5482"/>
              <a:gd name="T107" fmla="*/ 2391 h 7683"/>
              <a:gd name="T108" fmla="*/ 967 w 5482"/>
              <a:gd name="T109" fmla="*/ 3761 h 7683"/>
              <a:gd name="T110" fmla="*/ 2328 w 5482"/>
              <a:gd name="T111" fmla="*/ 3761 h 7683"/>
              <a:gd name="T112" fmla="*/ 2328 w 5482"/>
              <a:gd name="T113" fmla="*/ 2391 h 7683"/>
              <a:gd name="T114" fmla="*/ 2111 w 5482"/>
              <a:gd name="T115" fmla="*/ 3544 h 7683"/>
              <a:gd name="T116" fmla="*/ 1184 w 5482"/>
              <a:gd name="T117" fmla="*/ 3544 h 7683"/>
              <a:gd name="T118" fmla="*/ 1184 w 5482"/>
              <a:gd name="T119" fmla="*/ 2618 h 7683"/>
              <a:gd name="T120" fmla="*/ 2111 w 5482"/>
              <a:gd name="T121" fmla="*/ 2618 h 7683"/>
              <a:gd name="T122" fmla="*/ 2111 w 5482"/>
              <a:gd name="T123" fmla="*/ 3544 h 7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2" h="7683">
                <a:moveTo>
                  <a:pt x="0" y="0"/>
                </a:moveTo>
                <a:lnTo>
                  <a:pt x="0" y="6450"/>
                </a:lnTo>
                <a:lnTo>
                  <a:pt x="1219" y="7683"/>
                </a:lnTo>
                <a:lnTo>
                  <a:pt x="5482" y="7683"/>
                </a:lnTo>
                <a:lnTo>
                  <a:pt x="5482" y="0"/>
                </a:lnTo>
                <a:lnTo>
                  <a:pt x="0" y="0"/>
                </a:lnTo>
                <a:close/>
                <a:moveTo>
                  <a:pt x="1137" y="7272"/>
                </a:moveTo>
                <a:lnTo>
                  <a:pt x="368" y="6483"/>
                </a:lnTo>
                <a:lnTo>
                  <a:pt x="1137" y="6483"/>
                </a:lnTo>
                <a:lnTo>
                  <a:pt x="1137" y="7272"/>
                </a:lnTo>
                <a:close/>
                <a:moveTo>
                  <a:pt x="5262" y="7466"/>
                </a:moveTo>
                <a:lnTo>
                  <a:pt x="1354" y="7466"/>
                </a:lnTo>
                <a:lnTo>
                  <a:pt x="1354" y="6266"/>
                </a:lnTo>
                <a:lnTo>
                  <a:pt x="217" y="6266"/>
                </a:lnTo>
                <a:lnTo>
                  <a:pt x="217" y="218"/>
                </a:lnTo>
                <a:lnTo>
                  <a:pt x="5262" y="218"/>
                </a:lnTo>
                <a:lnTo>
                  <a:pt x="5262" y="7466"/>
                </a:lnTo>
                <a:close/>
                <a:moveTo>
                  <a:pt x="4409" y="1304"/>
                </a:moveTo>
                <a:lnTo>
                  <a:pt x="1402" y="1304"/>
                </a:lnTo>
                <a:lnTo>
                  <a:pt x="1402" y="1087"/>
                </a:lnTo>
                <a:lnTo>
                  <a:pt x="4409" y="1087"/>
                </a:lnTo>
                <a:lnTo>
                  <a:pt x="4409" y="1304"/>
                </a:lnTo>
                <a:close/>
                <a:moveTo>
                  <a:pt x="2546" y="2448"/>
                </a:moveTo>
                <a:lnTo>
                  <a:pt x="4409" y="2448"/>
                </a:lnTo>
                <a:lnTo>
                  <a:pt x="4409" y="2665"/>
                </a:lnTo>
                <a:lnTo>
                  <a:pt x="2546" y="2665"/>
                </a:lnTo>
                <a:lnTo>
                  <a:pt x="2546" y="2448"/>
                </a:lnTo>
                <a:close/>
                <a:moveTo>
                  <a:pt x="4409" y="1739"/>
                </a:moveTo>
                <a:lnTo>
                  <a:pt x="967" y="1739"/>
                </a:lnTo>
                <a:lnTo>
                  <a:pt x="967" y="1522"/>
                </a:lnTo>
                <a:lnTo>
                  <a:pt x="4409" y="1522"/>
                </a:lnTo>
                <a:lnTo>
                  <a:pt x="4409" y="1739"/>
                </a:lnTo>
                <a:close/>
                <a:moveTo>
                  <a:pt x="4409" y="2174"/>
                </a:moveTo>
                <a:lnTo>
                  <a:pt x="967" y="2174"/>
                </a:lnTo>
                <a:lnTo>
                  <a:pt x="967" y="1956"/>
                </a:lnTo>
                <a:lnTo>
                  <a:pt x="4409" y="1956"/>
                </a:lnTo>
                <a:lnTo>
                  <a:pt x="4409" y="2174"/>
                </a:lnTo>
                <a:close/>
                <a:moveTo>
                  <a:pt x="1402" y="4083"/>
                </a:moveTo>
                <a:lnTo>
                  <a:pt x="4409" y="4083"/>
                </a:lnTo>
                <a:lnTo>
                  <a:pt x="4409" y="4300"/>
                </a:lnTo>
                <a:lnTo>
                  <a:pt x="1402" y="4300"/>
                </a:lnTo>
                <a:lnTo>
                  <a:pt x="1402" y="4083"/>
                </a:lnTo>
                <a:close/>
                <a:moveTo>
                  <a:pt x="4409" y="4735"/>
                </a:moveTo>
                <a:lnTo>
                  <a:pt x="967" y="4735"/>
                </a:lnTo>
                <a:lnTo>
                  <a:pt x="967" y="4517"/>
                </a:lnTo>
                <a:lnTo>
                  <a:pt x="4409" y="4517"/>
                </a:lnTo>
                <a:lnTo>
                  <a:pt x="4409" y="4735"/>
                </a:lnTo>
                <a:close/>
                <a:moveTo>
                  <a:pt x="4409" y="5226"/>
                </a:moveTo>
                <a:lnTo>
                  <a:pt x="967" y="5226"/>
                </a:lnTo>
                <a:lnTo>
                  <a:pt x="967" y="5009"/>
                </a:lnTo>
                <a:lnTo>
                  <a:pt x="4409" y="5009"/>
                </a:lnTo>
                <a:lnTo>
                  <a:pt x="4409" y="5226"/>
                </a:lnTo>
                <a:close/>
                <a:moveTo>
                  <a:pt x="2328" y="2391"/>
                </a:moveTo>
                <a:lnTo>
                  <a:pt x="967" y="2391"/>
                </a:lnTo>
                <a:lnTo>
                  <a:pt x="967" y="3761"/>
                </a:lnTo>
                <a:lnTo>
                  <a:pt x="2328" y="3761"/>
                </a:lnTo>
                <a:lnTo>
                  <a:pt x="2328" y="2391"/>
                </a:lnTo>
                <a:close/>
                <a:moveTo>
                  <a:pt x="2111" y="3544"/>
                </a:moveTo>
                <a:lnTo>
                  <a:pt x="1184" y="3544"/>
                </a:lnTo>
                <a:lnTo>
                  <a:pt x="1184" y="2618"/>
                </a:lnTo>
                <a:lnTo>
                  <a:pt x="2111" y="2618"/>
                </a:lnTo>
                <a:lnTo>
                  <a:pt x="2111" y="3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3" name="Freeform 8"/>
          <p:cNvSpPr>
            <a:spLocks noEditPoints="1"/>
          </p:cNvSpPr>
          <p:nvPr/>
        </p:nvSpPr>
        <p:spPr bwMode="auto">
          <a:xfrm>
            <a:off x="4633338" y="3253954"/>
            <a:ext cx="519808" cy="505621"/>
          </a:xfrm>
          <a:custGeom>
            <a:avLst/>
            <a:gdLst>
              <a:gd name="T0" fmla="*/ 3291 w 3735"/>
              <a:gd name="T1" fmla="*/ 1020 h 3636"/>
              <a:gd name="T2" fmla="*/ 2942 w 3735"/>
              <a:gd name="T3" fmla="*/ 583 h 3636"/>
              <a:gd name="T4" fmla="*/ 1224 w 3735"/>
              <a:gd name="T5" fmla="*/ 1161 h 3636"/>
              <a:gd name="T6" fmla="*/ 604 w 3735"/>
              <a:gd name="T7" fmla="*/ 1248 h 3636"/>
              <a:gd name="T8" fmla="*/ 222 w 3735"/>
              <a:gd name="T9" fmla="*/ 2854 h 3636"/>
              <a:gd name="T10" fmla="*/ 622 w 3735"/>
              <a:gd name="T11" fmla="*/ 3259 h 3636"/>
              <a:gd name="T12" fmla="*/ 1799 w 3735"/>
              <a:gd name="T13" fmla="*/ 3636 h 3636"/>
              <a:gd name="T14" fmla="*/ 2354 w 3735"/>
              <a:gd name="T15" fmla="*/ 2497 h 3636"/>
              <a:gd name="T16" fmla="*/ 1776 w 3735"/>
              <a:gd name="T17" fmla="*/ 2650 h 3636"/>
              <a:gd name="T18" fmla="*/ 2252 w 3735"/>
              <a:gd name="T19" fmla="*/ 2498 h 3636"/>
              <a:gd name="T20" fmla="*/ 3009 w 3735"/>
              <a:gd name="T21" fmla="*/ 993 h 3636"/>
              <a:gd name="T22" fmla="*/ 2109 w 3735"/>
              <a:gd name="T23" fmla="*/ 809 h 3636"/>
              <a:gd name="T24" fmla="*/ 2891 w 3735"/>
              <a:gd name="T25" fmla="*/ 815 h 3636"/>
              <a:gd name="T26" fmla="*/ 2299 w 3735"/>
              <a:gd name="T27" fmla="*/ 2405 h 3636"/>
              <a:gd name="T28" fmla="*/ 1981 w 3735"/>
              <a:gd name="T29" fmla="*/ 2240 h 3636"/>
              <a:gd name="T30" fmla="*/ 2114 w 3735"/>
              <a:gd name="T31" fmla="*/ 323 h 3636"/>
              <a:gd name="T32" fmla="*/ 1935 w 3735"/>
              <a:gd name="T33" fmla="*/ 748 h 3636"/>
              <a:gd name="T34" fmla="*/ 1332 w 3735"/>
              <a:gd name="T35" fmla="*/ 1195 h 3636"/>
              <a:gd name="T36" fmla="*/ 1770 w 3735"/>
              <a:gd name="T37" fmla="*/ 2081 h 3636"/>
              <a:gd name="T38" fmla="*/ 1470 w 3735"/>
              <a:gd name="T39" fmla="*/ 1623 h 3636"/>
              <a:gd name="T40" fmla="*/ 1504 w 3735"/>
              <a:gd name="T41" fmla="*/ 2174 h 3636"/>
              <a:gd name="T42" fmla="*/ 1540 w 3735"/>
              <a:gd name="T43" fmla="*/ 2140 h 3636"/>
              <a:gd name="T44" fmla="*/ 1484 w 3735"/>
              <a:gd name="T45" fmla="*/ 2531 h 3636"/>
              <a:gd name="T46" fmla="*/ 1212 w 3735"/>
              <a:gd name="T47" fmla="*/ 2011 h 3636"/>
              <a:gd name="T48" fmla="*/ 1721 w 3735"/>
              <a:gd name="T49" fmla="*/ 2168 h 3636"/>
              <a:gd name="T50" fmla="*/ 1524 w 3735"/>
              <a:gd name="T51" fmla="*/ 2366 h 3636"/>
              <a:gd name="T52" fmla="*/ 3138 w 3735"/>
              <a:gd name="T53" fmla="*/ 1043 h 3636"/>
              <a:gd name="T54" fmla="*/ 3611 w 3735"/>
              <a:gd name="T55" fmla="*/ 2398 h 3636"/>
              <a:gd name="T56" fmla="*/ 3174 w 3735"/>
              <a:gd name="T57" fmla="*/ 953 h 3636"/>
              <a:gd name="T58" fmla="*/ 2898 w 3735"/>
              <a:gd name="T59" fmla="*/ 667 h 3636"/>
              <a:gd name="T60" fmla="*/ 2403 w 3735"/>
              <a:gd name="T61" fmla="*/ 520 h 3636"/>
              <a:gd name="T62" fmla="*/ 1155 w 3735"/>
              <a:gd name="T63" fmla="*/ 282 h 3636"/>
              <a:gd name="T64" fmla="*/ 1060 w 3735"/>
              <a:gd name="T65" fmla="*/ 353 h 3636"/>
              <a:gd name="T66" fmla="*/ 1302 w 3735"/>
              <a:gd name="T67" fmla="*/ 1103 h 3636"/>
              <a:gd name="T68" fmla="*/ 1368 w 3735"/>
              <a:gd name="T69" fmla="*/ 1609 h 3636"/>
              <a:gd name="T70" fmla="*/ 1088 w 3735"/>
              <a:gd name="T71" fmla="*/ 1462 h 3636"/>
              <a:gd name="T72" fmla="*/ 995 w 3735"/>
              <a:gd name="T73" fmla="*/ 1462 h 3636"/>
              <a:gd name="T74" fmla="*/ 798 w 3735"/>
              <a:gd name="T75" fmla="*/ 1265 h 3636"/>
              <a:gd name="T76" fmla="*/ 547 w 3735"/>
              <a:gd name="T77" fmla="*/ 1320 h 3636"/>
              <a:gd name="T78" fmla="*/ 115 w 3735"/>
              <a:gd name="T79" fmla="*/ 1921 h 3636"/>
              <a:gd name="T80" fmla="*/ 626 w 3735"/>
              <a:gd name="T81" fmla="*/ 1694 h 3636"/>
              <a:gd name="T82" fmla="*/ 1145 w 3735"/>
              <a:gd name="T83" fmla="*/ 1945 h 3636"/>
              <a:gd name="T84" fmla="*/ 307 w 3735"/>
              <a:gd name="T85" fmla="*/ 2814 h 3636"/>
              <a:gd name="T86" fmla="*/ 189 w 3735"/>
              <a:gd name="T87" fmla="*/ 3092 h 3636"/>
              <a:gd name="T88" fmla="*/ 386 w 3735"/>
              <a:gd name="T89" fmla="*/ 3289 h 3636"/>
              <a:gd name="T90" fmla="*/ 675 w 3735"/>
              <a:gd name="T91" fmla="*/ 3092 h 3636"/>
              <a:gd name="T92" fmla="*/ 1680 w 3735"/>
              <a:gd name="T93" fmla="*/ 2652 h 3636"/>
              <a:gd name="T94" fmla="*/ 1799 w 3735"/>
              <a:gd name="T95" fmla="*/ 3544 h 3636"/>
              <a:gd name="T96" fmla="*/ 1996 w 3735"/>
              <a:gd name="T97" fmla="*/ 3347 h 3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5" h="3636">
                <a:moveTo>
                  <a:pt x="2354" y="2497"/>
                </a:moveTo>
                <a:cubicBezTo>
                  <a:pt x="3735" y="2490"/>
                  <a:pt x="3735" y="2490"/>
                  <a:pt x="3735" y="2490"/>
                </a:cubicBezTo>
                <a:cubicBezTo>
                  <a:pt x="3291" y="1020"/>
                  <a:pt x="3291" y="1020"/>
                  <a:pt x="3291" y="1020"/>
                </a:cubicBezTo>
                <a:cubicBezTo>
                  <a:pt x="3392" y="975"/>
                  <a:pt x="3463" y="873"/>
                  <a:pt x="3463" y="756"/>
                </a:cubicBezTo>
                <a:cubicBezTo>
                  <a:pt x="3463" y="596"/>
                  <a:pt x="3333" y="466"/>
                  <a:pt x="3174" y="466"/>
                </a:cubicBezTo>
                <a:cubicBezTo>
                  <a:pt x="3079" y="466"/>
                  <a:pt x="2995" y="512"/>
                  <a:pt x="2942" y="583"/>
                </a:cubicBezTo>
                <a:cubicBezTo>
                  <a:pt x="2280" y="0"/>
                  <a:pt x="2280" y="0"/>
                  <a:pt x="2280" y="0"/>
                </a:cubicBezTo>
                <a:cubicBezTo>
                  <a:pt x="923" y="227"/>
                  <a:pt x="923" y="227"/>
                  <a:pt x="923" y="227"/>
                </a:cubicBezTo>
                <a:cubicBezTo>
                  <a:pt x="1224" y="1161"/>
                  <a:pt x="1224" y="1161"/>
                  <a:pt x="1224" y="1161"/>
                </a:cubicBezTo>
                <a:cubicBezTo>
                  <a:pt x="1037" y="1299"/>
                  <a:pt x="1037" y="1299"/>
                  <a:pt x="1037" y="1299"/>
                </a:cubicBezTo>
                <a:cubicBezTo>
                  <a:pt x="985" y="1223"/>
                  <a:pt x="897" y="1173"/>
                  <a:pt x="798" y="1173"/>
                </a:cubicBezTo>
                <a:cubicBezTo>
                  <a:pt x="724" y="1173"/>
                  <a:pt x="656" y="1202"/>
                  <a:pt x="604" y="1248"/>
                </a:cubicBezTo>
                <a:cubicBezTo>
                  <a:pt x="228" y="902"/>
                  <a:pt x="228" y="902"/>
                  <a:pt x="228" y="902"/>
                </a:cubicBezTo>
                <a:cubicBezTo>
                  <a:pt x="0" y="2022"/>
                  <a:pt x="0" y="2022"/>
                  <a:pt x="0" y="2022"/>
                </a:cubicBezTo>
                <a:cubicBezTo>
                  <a:pt x="222" y="2854"/>
                  <a:pt x="222" y="2854"/>
                  <a:pt x="222" y="2854"/>
                </a:cubicBezTo>
                <a:cubicBezTo>
                  <a:pt x="146" y="2906"/>
                  <a:pt x="97" y="2993"/>
                  <a:pt x="97" y="3092"/>
                </a:cubicBezTo>
                <a:cubicBezTo>
                  <a:pt x="97" y="3251"/>
                  <a:pt x="226" y="3381"/>
                  <a:pt x="386" y="3381"/>
                </a:cubicBezTo>
                <a:cubicBezTo>
                  <a:pt x="483" y="3381"/>
                  <a:pt x="569" y="3333"/>
                  <a:pt x="622" y="3259"/>
                </a:cubicBezTo>
                <a:cubicBezTo>
                  <a:pt x="622" y="3260"/>
                  <a:pt x="622" y="3260"/>
                  <a:pt x="622" y="3260"/>
                </a:cubicBezTo>
                <a:cubicBezTo>
                  <a:pt x="1517" y="3408"/>
                  <a:pt x="1517" y="3408"/>
                  <a:pt x="1517" y="3408"/>
                </a:cubicBezTo>
                <a:cubicBezTo>
                  <a:pt x="1545" y="3538"/>
                  <a:pt x="1661" y="3636"/>
                  <a:pt x="1799" y="3636"/>
                </a:cubicBezTo>
                <a:cubicBezTo>
                  <a:pt x="1959" y="3636"/>
                  <a:pt x="2089" y="3507"/>
                  <a:pt x="2089" y="3347"/>
                </a:cubicBezTo>
                <a:cubicBezTo>
                  <a:pt x="2089" y="3268"/>
                  <a:pt x="2057" y="3197"/>
                  <a:pt x="2006" y="3145"/>
                </a:cubicBezTo>
                <a:lnTo>
                  <a:pt x="2354" y="2497"/>
                </a:lnTo>
                <a:close/>
                <a:moveTo>
                  <a:pt x="1931" y="3090"/>
                </a:moveTo>
                <a:cubicBezTo>
                  <a:pt x="1899" y="3074"/>
                  <a:pt x="1865" y="3063"/>
                  <a:pt x="1829" y="3059"/>
                </a:cubicBezTo>
                <a:cubicBezTo>
                  <a:pt x="1776" y="2650"/>
                  <a:pt x="1776" y="2650"/>
                  <a:pt x="1776" y="2650"/>
                </a:cubicBezTo>
                <a:cubicBezTo>
                  <a:pt x="1866" y="2634"/>
                  <a:pt x="1940" y="2576"/>
                  <a:pt x="1984" y="2498"/>
                </a:cubicBezTo>
                <a:cubicBezTo>
                  <a:pt x="1984" y="2499"/>
                  <a:pt x="1984" y="2499"/>
                  <a:pt x="1984" y="2499"/>
                </a:cubicBezTo>
                <a:cubicBezTo>
                  <a:pt x="2252" y="2498"/>
                  <a:pt x="2252" y="2498"/>
                  <a:pt x="2252" y="2498"/>
                </a:cubicBezTo>
                <a:lnTo>
                  <a:pt x="1931" y="3090"/>
                </a:lnTo>
                <a:close/>
                <a:moveTo>
                  <a:pt x="2891" y="815"/>
                </a:moveTo>
                <a:cubicBezTo>
                  <a:pt x="2906" y="888"/>
                  <a:pt x="2949" y="951"/>
                  <a:pt x="3009" y="993"/>
                </a:cubicBezTo>
                <a:cubicBezTo>
                  <a:pt x="1927" y="2163"/>
                  <a:pt x="1927" y="2163"/>
                  <a:pt x="1927" y="2163"/>
                </a:cubicBezTo>
                <a:cubicBezTo>
                  <a:pt x="1907" y="2142"/>
                  <a:pt x="1884" y="2125"/>
                  <a:pt x="1858" y="2111"/>
                </a:cubicBezTo>
                <a:cubicBezTo>
                  <a:pt x="2109" y="809"/>
                  <a:pt x="2109" y="809"/>
                  <a:pt x="2109" y="809"/>
                </a:cubicBezTo>
                <a:cubicBezTo>
                  <a:pt x="2111" y="809"/>
                  <a:pt x="2112" y="809"/>
                  <a:pt x="2114" y="809"/>
                </a:cubicBezTo>
                <a:cubicBezTo>
                  <a:pt x="2198" y="809"/>
                  <a:pt x="2275" y="773"/>
                  <a:pt x="2327" y="714"/>
                </a:cubicBezTo>
                <a:lnTo>
                  <a:pt x="2891" y="815"/>
                </a:lnTo>
                <a:close/>
                <a:moveTo>
                  <a:pt x="1981" y="2240"/>
                </a:moveTo>
                <a:cubicBezTo>
                  <a:pt x="2956" y="1185"/>
                  <a:pt x="2956" y="1185"/>
                  <a:pt x="2956" y="1185"/>
                </a:cubicBezTo>
                <a:cubicBezTo>
                  <a:pt x="2299" y="2405"/>
                  <a:pt x="2299" y="2405"/>
                  <a:pt x="2299" y="2405"/>
                </a:cubicBezTo>
                <a:cubicBezTo>
                  <a:pt x="2007" y="2407"/>
                  <a:pt x="2007" y="2407"/>
                  <a:pt x="2007" y="2407"/>
                </a:cubicBezTo>
                <a:cubicBezTo>
                  <a:pt x="2009" y="2393"/>
                  <a:pt x="2010" y="2380"/>
                  <a:pt x="2010" y="2366"/>
                </a:cubicBezTo>
                <a:cubicBezTo>
                  <a:pt x="2010" y="2321"/>
                  <a:pt x="2000" y="2278"/>
                  <a:pt x="1981" y="2240"/>
                </a:cubicBezTo>
                <a:close/>
                <a:moveTo>
                  <a:pt x="2114" y="717"/>
                </a:moveTo>
                <a:cubicBezTo>
                  <a:pt x="2005" y="717"/>
                  <a:pt x="1917" y="629"/>
                  <a:pt x="1917" y="520"/>
                </a:cubicBezTo>
                <a:cubicBezTo>
                  <a:pt x="1917" y="411"/>
                  <a:pt x="2005" y="323"/>
                  <a:pt x="2114" y="323"/>
                </a:cubicBezTo>
                <a:cubicBezTo>
                  <a:pt x="2222" y="323"/>
                  <a:pt x="2311" y="411"/>
                  <a:pt x="2311" y="520"/>
                </a:cubicBezTo>
                <a:cubicBezTo>
                  <a:pt x="2311" y="629"/>
                  <a:pt x="2222" y="717"/>
                  <a:pt x="2114" y="717"/>
                </a:cubicBezTo>
                <a:close/>
                <a:moveTo>
                  <a:pt x="1935" y="748"/>
                </a:moveTo>
                <a:cubicBezTo>
                  <a:pt x="1937" y="749"/>
                  <a:pt x="1938" y="750"/>
                  <a:pt x="1939" y="751"/>
                </a:cubicBezTo>
                <a:cubicBezTo>
                  <a:pt x="1434" y="1511"/>
                  <a:pt x="1434" y="1511"/>
                  <a:pt x="1434" y="1511"/>
                </a:cubicBezTo>
                <a:cubicBezTo>
                  <a:pt x="1332" y="1195"/>
                  <a:pt x="1332" y="1195"/>
                  <a:pt x="1332" y="1195"/>
                </a:cubicBezTo>
                <a:lnTo>
                  <a:pt x="1935" y="748"/>
                </a:lnTo>
                <a:close/>
                <a:moveTo>
                  <a:pt x="2017" y="801"/>
                </a:moveTo>
                <a:cubicBezTo>
                  <a:pt x="1770" y="2081"/>
                  <a:pt x="1770" y="2081"/>
                  <a:pt x="1770" y="2081"/>
                </a:cubicBezTo>
                <a:cubicBezTo>
                  <a:pt x="1754" y="2078"/>
                  <a:pt x="1738" y="2076"/>
                  <a:pt x="1721" y="2076"/>
                </a:cubicBezTo>
                <a:cubicBezTo>
                  <a:pt x="1686" y="2076"/>
                  <a:pt x="1653" y="2083"/>
                  <a:pt x="1622" y="2094"/>
                </a:cubicBezTo>
                <a:cubicBezTo>
                  <a:pt x="1470" y="1623"/>
                  <a:pt x="1470" y="1623"/>
                  <a:pt x="1470" y="1623"/>
                </a:cubicBezTo>
                <a:lnTo>
                  <a:pt x="2017" y="801"/>
                </a:lnTo>
                <a:close/>
                <a:moveTo>
                  <a:pt x="1540" y="2140"/>
                </a:moveTo>
                <a:cubicBezTo>
                  <a:pt x="1527" y="2151"/>
                  <a:pt x="1515" y="2162"/>
                  <a:pt x="1504" y="2174"/>
                </a:cubicBezTo>
                <a:cubicBezTo>
                  <a:pt x="1264" y="1933"/>
                  <a:pt x="1264" y="1933"/>
                  <a:pt x="1264" y="1933"/>
                </a:cubicBezTo>
                <a:cubicBezTo>
                  <a:pt x="1404" y="1721"/>
                  <a:pt x="1404" y="1721"/>
                  <a:pt x="1404" y="1721"/>
                </a:cubicBezTo>
                <a:lnTo>
                  <a:pt x="1540" y="2140"/>
                </a:lnTo>
                <a:close/>
                <a:moveTo>
                  <a:pt x="1454" y="2254"/>
                </a:moveTo>
                <a:cubicBezTo>
                  <a:pt x="1440" y="2289"/>
                  <a:pt x="1432" y="2326"/>
                  <a:pt x="1432" y="2366"/>
                </a:cubicBezTo>
                <a:cubicBezTo>
                  <a:pt x="1432" y="2427"/>
                  <a:pt x="1451" y="2484"/>
                  <a:pt x="1484" y="2531"/>
                </a:cubicBezTo>
                <a:cubicBezTo>
                  <a:pt x="651" y="2976"/>
                  <a:pt x="651" y="2976"/>
                  <a:pt x="651" y="2976"/>
                </a:cubicBezTo>
                <a:cubicBezTo>
                  <a:pt x="641" y="2953"/>
                  <a:pt x="628" y="2932"/>
                  <a:pt x="612" y="2912"/>
                </a:cubicBezTo>
                <a:cubicBezTo>
                  <a:pt x="1212" y="2011"/>
                  <a:pt x="1212" y="2011"/>
                  <a:pt x="1212" y="2011"/>
                </a:cubicBezTo>
                <a:lnTo>
                  <a:pt x="1454" y="2254"/>
                </a:lnTo>
                <a:close/>
                <a:moveTo>
                  <a:pt x="1524" y="2366"/>
                </a:moveTo>
                <a:cubicBezTo>
                  <a:pt x="1524" y="2257"/>
                  <a:pt x="1612" y="2168"/>
                  <a:pt x="1721" y="2168"/>
                </a:cubicBezTo>
                <a:cubicBezTo>
                  <a:pt x="1830" y="2168"/>
                  <a:pt x="1918" y="2257"/>
                  <a:pt x="1918" y="2366"/>
                </a:cubicBezTo>
                <a:cubicBezTo>
                  <a:pt x="1918" y="2474"/>
                  <a:pt x="1830" y="2563"/>
                  <a:pt x="1721" y="2563"/>
                </a:cubicBezTo>
                <a:cubicBezTo>
                  <a:pt x="1612" y="2563"/>
                  <a:pt x="1524" y="2474"/>
                  <a:pt x="1524" y="2366"/>
                </a:cubicBezTo>
                <a:close/>
                <a:moveTo>
                  <a:pt x="3611" y="2398"/>
                </a:moveTo>
                <a:cubicBezTo>
                  <a:pt x="2404" y="2405"/>
                  <a:pt x="2404" y="2405"/>
                  <a:pt x="2404" y="2405"/>
                </a:cubicBezTo>
                <a:cubicBezTo>
                  <a:pt x="3138" y="1043"/>
                  <a:pt x="3138" y="1043"/>
                  <a:pt x="3138" y="1043"/>
                </a:cubicBezTo>
                <a:cubicBezTo>
                  <a:pt x="3150" y="1044"/>
                  <a:pt x="3162" y="1045"/>
                  <a:pt x="3174" y="1045"/>
                </a:cubicBezTo>
                <a:cubicBezTo>
                  <a:pt x="3183" y="1045"/>
                  <a:pt x="3192" y="1044"/>
                  <a:pt x="3202" y="1044"/>
                </a:cubicBezTo>
                <a:lnTo>
                  <a:pt x="3611" y="2398"/>
                </a:lnTo>
                <a:close/>
                <a:moveTo>
                  <a:pt x="3174" y="559"/>
                </a:moveTo>
                <a:cubicBezTo>
                  <a:pt x="3282" y="559"/>
                  <a:pt x="3371" y="647"/>
                  <a:pt x="3371" y="756"/>
                </a:cubicBezTo>
                <a:cubicBezTo>
                  <a:pt x="3371" y="864"/>
                  <a:pt x="3282" y="953"/>
                  <a:pt x="3174" y="953"/>
                </a:cubicBezTo>
                <a:cubicBezTo>
                  <a:pt x="3065" y="953"/>
                  <a:pt x="2977" y="864"/>
                  <a:pt x="2977" y="756"/>
                </a:cubicBezTo>
                <a:cubicBezTo>
                  <a:pt x="2977" y="647"/>
                  <a:pt x="3065" y="559"/>
                  <a:pt x="3174" y="559"/>
                </a:cubicBezTo>
                <a:close/>
                <a:moveTo>
                  <a:pt x="2898" y="667"/>
                </a:moveTo>
                <a:cubicBezTo>
                  <a:pt x="2893" y="684"/>
                  <a:pt x="2889" y="702"/>
                  <a:pt x="2887" y="721"/>
                </a:cubicBezTo>
                <a:cubicBezTo>
                  <a:pt x="2381" y="630"/>
                  <a:pt x="2381" y="630"/>
                  <a:pt x="2381" y="630"/>
                </a:cubicBezTo>
                <a:cubicBezTo>
                  <a:pt x="2395" y="596"/>
                  <a:pt x="2403" y="559"/>
                  <a:pt x="2403" y="520"/>
                </a:cubicBezTo>
                <a:cubicBezTo>
                  <a:pt x="2403" y="361"/>
                  <a:pt x="2273" y="231"/>
                  <a:pt x="2114" y="231"/>
                </a:cubicBezTo>
                <a:cubicBezTo>
                  <a:pt x="1976" y="231"/>
                  <a:pt x="1861" y="327"/>
                  <a:pt x="1832" y="456"/>
                </a:cubicBezTo>
                <a:cubicBezTo>
                  <a:pt x="1155" y="282"/>
                  <a:pt x="1155" y="282"/>
                  <a:pt x="1155" y="282"/>
                </a:cubicBezTo>
                <a:cubicBezTo>
                  <a:pt x="2252" y="98"/>
                  <a:pt x="2252" y="98"/>
                  <a:pt x="2252" y="98"/>
                </a:cubicBezTo>
                <a:lnTo>
                  <a:pt x="2898" y="667"/>
                </a:lnTo>
                <a:close/>
                <a:moveTo>
                  <a:pt x="1060" y="353"/>
                </a:moveTo>
                <a:cubicBezTo>
                  <a:pt x="1826" y="550"/>
                  <a:pt x="1826" y="550"/>
                  <a:pt x="1826" y="550"/>
                </a:cubicBezTo>
                <a:cubicBezTo>
                  <a:pt x="1831" y="598"/>
                  <a:pt x="1847" y="642"/>
                  <a:pt x="1872" y="680"/>
                </a:cubicBezTo>
                <a:cubicBezTo>
                  <a:pt x="1302" y="1103"/>
                  <a:pt x="1302" y="1103"/>
                  <a:pt x="1302" y="1103"/>
                </a:cubicBezTo>
                <a:lnTo>
                  <a:pt x="1060" y="353"/>
                </a:lnTo>
                <a:close/>
                <a:moveTo>
                  <a:pt x="1254" y="1254"/>
                </a:moveTo>
                <a:cubicBezTo>
                  <a:pt x="1368" y="1609"/>
                  <a:pt x="1368" y="1609"/>
                  <a:pt x="1368" y="1609"/>
                </a:cubicBezTo>
                <a:cubicBezTo>
                  <a:pt x="1197" y="1866"/>
                  <a:pt x="1197" y="1866"/>
                  <a:pt x="1197" y="1866"/>
                </a:cubicBezTo>
                <a:cubicBezTo>
                  <a:pt x="1001" y="1669"/>
                  <a:pt x="1001" y="1669"/>
                  <a:pt x="1001" y="1669"/>
                </a:cubicBezTo>
                <a:cubicBezTo>
                  <a:pt x="1054" y="1616"/>
                  <a:pt x="1088" y="1543"/>
                  <a:pt x="1088" y="1462"/>
                </a:cubicBezTo>
                <a:cubicBezTo>
                  <a:pt x="1088" y="1436"/>
                  <a:pt x="1084" y="1410"/>
                  <a:pt x="1077" y="1385"/>
                </a:cubicBezTo>
                <a:lnTo>
                  <a:pt x="1254" y="1254"/>
                </a:lnTo>
                <a:close/>
                <a:moveTo>
                  <a:pt x="995" y="1462"/>
                </a:moveTo>
                <a:cubicBezTo>
                  <a:pt x="995" y="1571"/>
                  <a:pt x="907" y="1659"/>
                  <a:pt x="798" y="1659"/>
                </a:cubicBezTo>
                <a:cubicBezTo>
                  <a:pt x="690" y="1659"/>
                  <a:pt x="601" y="1571"/>
                  <a:pt x="601" y="1462"/>
                </a:cubicBezTo>
                <a:cubicBezTo>
                  <a:pt x="601" y="1354"/>
                  <a:pt x="690" y="1265"/>
                  <a:pt x="798" y="1265"/>
                </a:cubicBezTo>
                <a:cubicBezTo>
                  <a:pt x="907" y="1265"/>
                  <a:pt x="995" y="1354"/>
                  <a:pt x="995" y="1462"/>
                </a:cubicBezTo>
                <a:close/>
                <a:moveTo>
                  <a:pt x="286" y="1081"/>
                </a:moveTo>
                <a:cubicBezTo>
                  <a:pt x="547" y="1320"/>
                  <a:pt x="547" y="1320"/>
                  <a:pt x="547" y="1320"/>
                </a:cubicBezTo>
                <a:cubicBezTo>
                  <a:pt x="523" y="1362"/>
                  <a:pt x="509" y="1411"/>
                  <a:pt x="509" y="1462"/>
                </a:cubicBezTo>
                <a:cubicBezTo>
                  <a:pt x="509" y="1524"/>
                  <a:pt x="528" y="1580"/>
                  <a:pt x="561" y="1627"/>
                </a:cubicBezTo>
                <a:cubicBezTo>
                  <a:pt x="115" y="1921"/>
                  <a:pt x="115" y="1921"/>
                  <a:pt x="115" y="1921"/>
                </a:cubicBezTo>
                <a:lnTo>
                  <a:pt x="286" y="1081"/>
                </a:lnTo>
                <a:close/>
                <a:moveTo>
                  <a:pt x="101" y="2041"/>
                </a:moveTo>
                <a:cubicBezTo>
                  <a:pt x="626" y="1694"/>
                  <a:pt x="626" y="1694"/>
                  <a:pt x="626" y="1694"/>
                </a:cubicBezTo>
                <a:cubicBezTo>
                  <a:pt x="674" y="1730"/>
                  <a:pt x="734" y="1752"/>
                  <a:pt x="798" y="1752"/>
                </a:cubicBezTo>
                <a:cubicBezTo>
                  <a:pt x="843" y="1752"/>
                  <a:pt x="886" y="1741"/>
                  <a:pt x="924" y="1723"/>
                </a:cubicBezTo>
                <a:cubicBezTo>
                  <a:pt x="1145" y="1945"/>
                  <a:pt x="1145" y="1945"/>
                  <a:pt x="1145" y="1945"/>
                </a:cubicBezTo>
                <a:cubicBezTo>
                  <a:pt x="543" y="2849"/>
                  <a:pt x="543" y="2849"/>
                  <a:pt x="543" y="2849"/>
                </a:cubicBezTo>
                <a:cubicBezTo>
                  <a:pt x="498" y="2820"/>
                  <a:pt x="444" y="2803"/>
                  <a:pt x="386" y="2803"/>
                </a:cubicBezTo>
                <a:cubicBezTo>
                  <a:pt x="359" y="2803"/>
                  <a:pt x="332" y="2807"/>
                  <a:pt x="307" y="2814"/>
                </a:cubicBezTo>
                <a:lnTo>
                  <a:pt x="101" y="2041"/>
                </a:lnTo>
                <a:close/>
                <a:moveTo>
                  <a:pt x="386" y="3289"/>
                </a:moveTo>
                <a:cubicBezTo>
                  <a:pt x="277" y="3289"/>
                  <a:pt x="189" y="3201"/>
                  <a:pt x="189" y="3092"/>
                </a:cubicBezTo>
                <a:cubicBezTo>
                  <a:pt x="189" y="2983"/>
                  <a:pt x="277" y="2895"/>
                  <a:pt x="386" y="2895"/>
                </a:cubicBezTo>
                <a:cubicBezTo>
                  <a:pt x="495" y="2895"/>
                  <a:pt x="583" y="2983"/>
                  <a:pt x="583" y="3092"/>
                </a:cubicBezTo>
                <a:cubicBezTo>
                  <a:pt x="583" y="3201"/>
                  <a:pt x="495" y="3289"/>
                  <a:pt x="386" y="3289"/>
                </a:cubicBezTo>
                <a:close/>
                <a:moveTo>
                  <a:pt x="1512" y="3313"/>
                </a:moveTo>
                <a:cubicBezTo>
                  <a:pt x="663" y="3173"/>
                  <a:pt x="663" y="3173"/>
                  <a:pt x="663" y="3173"/>
                </a:cubicBezTo>
                <a:cubicBezTo>
                  <a:pt x="671" y="3147"/>
                  <a:pt x="675" y="3120"/>
                  <a:pt x="675" y="3092"/>
                </a:cubicBezTo>
                <a:cubicBezTo>
                  <a:pt x="675" y="3084"/>
                  <a:pt x="675" y="3076"/>
                  <a:pt x="674" y="3068"/>
                </a:cubicBezTo>
                <a:cubicBezTo>
                  <a:pt x="1551" y="2599"/>
                  <a:pt x="1551" y="2599"/>
                  <a:pt x="1551" y="2599"/>
                </a:cubicBezTo>
                <a:cubicBezTo>
                  <a:pt x="1589" y="2627"/>
                  <a:pt x="1633" y="2645"/>
                  <a:pt x="1680" y="2652"/>
                </a:cubicBezTo>
                <a:cubicBezTo>
                  <a:pt x="1736" y="3065"/>
                  <a:pt x="1736" y="3065"/>
                  <a:pt x="1736" y="3065"/>
                </a:cubicBezTo>
                <a:cubicBezTo>
                  <a:pt x="1618" y="3092"/>
                  <a:pt x="1527" y="3191"/>
                  <a:pt x="1512" y="3313"/>
                </a:cubicBezTo>
                <a:close/>
                <a:moveTo>
                  <a:pt x="1799" y="3544"/>
                </a:moveTo>
                <a:cubicBezTo>
                  <a:pt x="1691" y="3544"/>
                  <a:pt x="1602" y="3456"/>
                  <a:pt x="1602" y="3347"/>
                </a:cubicBezTo>
                <a:cubicBezTo>
                  <a:pt x="1602" y="3238"/>
                  <a:pt x="1691" y="3150"/>
                  <a:pt x="1799" y="3150"/>
                </a:cubicBezTo>
                <a:cubicBezTo>
                  <a:pt x="1908" y="3150"/>
                  <a:pt x="1996" y="3238"/>
                  <a:pt x="1996" y="3347"/>
                </a:cubicBezTo>
                <a:cubicBezTo>
                  <a:pt x="1996" y="3456"/>
                  <a:pt x="1908" y="3544"/>
                  <a:pt x="1799" y="35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4" name="Freeform 9"/>
          <p:cNvSpPr>
            <a:spLocks noEditPoints="1"/>
          </p:cNvSpPr>
          <p:nvPr/>
        </p:nvSpPr>
        <p:spPr bwMode="auto">
          <a:xfrm>
            <a:off x="4665657" y="1366457"/>
            <a:ext cx="449931" cy="518984"/>
          </a:xfrm>
          <a:custGeom>
            <a:avLst/>
            <a:gdLst>
              <a:gd name="T0" fmla="*/ 7612 w 7643"/>
              <a:gd name="T1" fmla="*/ 2230 h 8816"/>
              <a:gd name="T2" fmla="*/ 3848 w 7643"/>
              <a:gd name="T3" fmla="*/ 0 h 8816"/>
              <a:gd name="T4" fmla="*/ 0 w 7643"/>
              <a:gd name="T5" fmla="*/ 2204 h 8816"/>
              <a:gd name="T6" fmla="*/ 0 w 7643"/>
              <a:gd name="T7" fmla="*/ 6615 h 8816"/>
              <a:gd name="T8" fmla="*/ 3867 w 7643"/>
              <a:gd name="T9" fmla="*/ 8816 h 8816"/>
              <a:gd name="T10" fmla="*/ 7643 w 7643"/>
              <a:gd name="T11" fmla="*/ 6612 h 8816"/>
              <a:gd name="T12" fmla="*/ 7612 w 7643"/>
              <a:gd name="T13" fmla="*/ 2230 h 8816"/>
              <a:gd name="T14" fmla="*/ 7288 w 7643"/>
              <a:gd name="T15" fmla="*/ 2291 h 8816"/>
              <a:gd name="T16" fmla="*/ 3877 w 7643"/>
              <a:gd name="T17" fmla="*/ 4283 h 8816"/>
              <a:gd name="T18" fmla="*/ 357 w 7643"/>
              <a:gd name="T19" fmla="*/ 2251 h 8816"/>
              <a:gd name="T20" fmla="*/ 3848 w 7643"/>
              <a:gd name="T21" fmla="*/ 253 h 8816"/>
              <a:gd name="T22" fmla="*/ 7288 w 7643"/>
              <a:gd name="T23" fmla="*/ 2291 h 8816"/>
              <a:gd name="T24" fmla="*/ 217 w 7643"/>
              <a:gd name="T25" fmla="*/ 2424 h 8816"/>
              <a:gd name="T26" fmla="*/ 3763 w 7643"/>
              <a:gd name="T27" fmla="*/ 4472 h 8816"/>
              <a:gd name="T28" fmla="*/ 3763 w 7643"/>
              <a:gd name="T29" fmla="*/ 8509 h 8816"/>
              <a:gd name="T30" fmla="*/ 217 w 7643"/>
              <a:gd name="T31" fmla="*/ 6487 h 8816"/>
              <a:gd name="T32" fmla="*/ 217 w 7643"/>
              <a:gd name="T33" fmla="*/ 2424 h 8816"/>
              <a:gd name="T34" fmla="*/ 3981 w 7643"/>
              <a:gd name="T35" fmla="*/ 8497 h 8816"/>
              <a:gd name="T36" fmla="*/ 3981 w 7643"/>
              <a:gd name="T37" fmla="*/ 4472 h 8816"/>
              <a:gd name="T38" fmla="*/ 7392 w 7643"/>
              <a:gd name="T39" fmla="*/ 2480 h 8816"/>
              <a:gd name="T40" fmla="*/ 7421 w 7643"/>
              <a:gd name="T41" fmla="*/ 6487 h 8816"/>
              <a:gd name="T42" fmla="*/ 3981 w 7643"/>
              <a:gd name="T43" fmla="*/ 8497 h 8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43" h="8816">
                <a:moveTo>
                  <a:pt x="7612" y="2230"/>
                </a:moveTo>
                <a:lnTo>
                  <a:pt x="3848" y="0"/>
                </a:lnTo>
                <a:lnTo>
                  <a:pt x="0" y="2204"/>
                </a:lnTo>
                <a:lnTo>
                  <a:pt x="0" y="6615"/>
                </a:lnTo>
                <a:lnTo>
                  <a:pt x="3867" y="8816"/>
                </a:lnTo>
                <a:lnTo>
                  <a:pt x="7643" y="6612"/>
                </a:lnTo>
                <a:lnTo>
                  <a:pt x="7612" y="2230"/>
                </a:lnTo>
                <a:close/>
                <a:moveTo>
                  <a:pt x="7288" y="2291"/>
                </a:moveTo>
                <a:lnTo>
                  <a:pt x="3877" y="4283"/>
                </a:lnTo>
                <a:lnTo>
                  <a:pt x="357" y="2251"/>
                </a:lnTo>
                <a:lnTo>
                  <a:pt x="3848" y="253"/>
                </a:lnTo>
                <a:lnTo>
                  <a:pt x="7288" y="2291"/>
                </a:lnTo>
                <a:close/>
                <a:moveTo>
                  <a:pt x="217" y="2424"/>
                </a:moveTo>
                <a:lnTo>
                  <a:pt x="3763" y="4472"/>
                </a:lnTo>
                <a:lnTo>
                  <a:pt x="3763" y="8509"/>
                </a:lnTo>
                <a:lnTo>
                  <a:pt x="217" y="6487"/>
                </a:lnTo>
                <a:lnTo>
                  <a:pt x="217" y="2424"/>
                </a:lnTo>
                <a:close/>
                <a:moveTo>
                  <a:pt x="3981" y="8497"/>
                </a:moveTo>
                <a:lnTo>
                  <a:pt x="3981" y="4472"/>
                </a:lnTo>
                <a:lnTo>
                  <a:pt x="7392" y="2480"/>
                </a:lnTo>
                <a:lnTo>
                  <a:pt x="7421" y="6487"/>
                </a:lnTo>
                <a:lnTo>
                  <a:pt x="3981" y="84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 name="Freeform 10"/>
          <p:cNvSpPr>
            <a:spLocks noEditPoints="1"/>
          </p:cNvSpPr>
          <p:nvPr/>
        </p:nvSpPr>
        <p:spPr bwMode="auto">
          <a:xfrm>
            <a:off x="4665656" y="4252775"/>
            <a:ext cx="446458" cy="407193"/>
          </a:xfrm>
          <a:custGeom>
            <a:avLst/>
            <a:gdLst>
              <a:gd name="T0" fmla="*/ 0 w 3208"/>
              <a:gd name="T1" fmla="*/ 618 h 2928"/>
              <a:gd name="T2" fmla="*/ 3208 w 3208"/>
              <a:gd name="T3" fmla="*/ 2928 h 2928"/>
              <a:gd name="T4" fmla="*/ 3208 w 3208"/>
              <a:gd name="T5" fmla="*/ 0 h 2928"/>
              <a:gd name="T6" fmla="*/ 92 w 3208"/>
              <a:gd name="T7" fmla="*/ 92 h 2928"/>
              <a:gd name="T8" fmla="*/ 3116 w 3208"/>
              <a:gd name="T9" fmla="*/ 528 h 2928"/>
              <a:gd name="T10" fmla="*/ 92 w 3208"/>
              <a:gd name="T11" fmla="*/ 92 h 2928"/>
              <a:gd name="T12" fmla="*/ 92 w 3208"/>
              <a:gd name="T13" fmla="*/ 2836 h 2928"/>
              <a:gd name="T14" fmla="*/ 3116 w 3208"/>
              <a:gd name="T15" fmla="*/ 620 h 2928"/>
              <a:gd name="T16" fmla="*/ 3012 w 3208"/>
              <a:gd name="T17" fmla="*/ 245 h 2928"/>
              <a:gd name="T18" fmla="*/ 3012 w 3208"/>
              <a:gd name="T19" fmla="*/ 403 h 2928"/>
              <a:gd name="T20" fmla="*/ 2868 w 3208"/>
              <a:gd name="T21" fmla="*/ 389 h 2928"/>
              <a:gd name="T22" fmla="*/ 2724 w 3208"/>
              <a:gd name="T23" fmla="*/ 403 h 2928"/>
              <a:gd name="T24" fmla="*/ 2724 w 3208"/>
              <a:gd name="T25" fmla="*/ 245 h 2928"/>
              <a:gd name="T26" fmla="*/ 2868 w 3208"/>
              <a:gd name="T27" fmla="*/ 259 h 2928"/>
              <a:gd name="T28" fmla="*/ 3012 w 3208"/>
              <a:gd name="T29" fmla="*/ 245 h 2928"/>
              <a:gd name="T30" fmla="*/ 2284 w 3208"/>
              <a:gd name="T31" fmla="*/ 368 h 2928"/>
              <a:gd name="T32" fmla="*/ 2032 w 3208"/>
              <a:gd name="T33" fmla="*/ 460 h 2928"/>
              <a:gd name="T34" fmla="*/ 2352 w 3208"/>
              <a:gd name="T35" fmla="*/ 460 h 2928"/>
              <a:gd name="T36" fmla="*/ 2652 w 3208"/>
              <a:gd name="T37" fmla="*/ 184 h 2928"/>
              <a:gd name="T38" fmla="*/ 2352 w 3208"/>
              <a:gd name="T39" fmla="*/ 460 h 2928"/>
              <a:gd name="T40" fmla="*/ 2560 w 3208"/>
              <a:gd name="T41" fmla="*/ 276 h 2928"/>
              <a:gd name="T42" fmla="*/ 2444 w 3208"/>
              <a:gd name="T43" fmla="*/ 368 h 2928"/>
              <a:gd name="T44" fmla="*/ 1575 w 3208"/>
              <a:gd name="T45" fmla="*/ 2572 h 2928"/>
              <a:gd name="T46" fmla="*/ 2216 w 3208"/>
              <a:gd name="T47" fmla="*/ 1497 h 2928"/>
              <a:gd name="T48" fmla="*/ 1568 w 3208"/>
              <a:gd name="T49" fmla="*/ 1802 h 2928"/>
              <a:gd name="T50" fmla="*/ 1520 w 3208"/>
              <a:gd name="T51" fmla="*/ 1107 h 2928"/>
              <a:gd name="T52" fmla="*/ 1575 w 3208"/>
              <a:gd name="T53" fmla="*/ 2572 h 2928"/>
              <a:gd name="T54" fmla="*/ 1476 w 3208"/>
              <a:gd name="T55" fmla="*/ 1959 h 2928"/>
              <a:gd name="T56" fmla="*/ 2212 w 3208"/>
              <a:gd name="T57" fmla="*/ 1839 h 2928"/>
              <a:gd name="T58" fmla="*/ 926 w 3208"/>
              <a:gd name="T59" fmla="*/ 1839 h 2928"/>
              <a:gd name="T60" fmla="*/ 2420 w 3208"/>
              <a:gd name="T61" fmla="*/ 1177 h 2928"/>
              <a:gd name="T62" fmla="*/ 1706 w 3208"/>
              <a:gd name="T63" fmla="*/ 776 h 2928"/>
              <a:gd name="T64" fmla="*/ 1660 w 3208"/>
              <a:gd name="T65" fmla="*/ 1647 h 2928"/>
              <a:gd name="T66" fmla="*/ 2420 w 3208"/>
              <a:gd name="T67" fmla="*/ 1177 h 2928"/>
              <a:gd name="T68" fmla="*/ 1752 w 3208"/>
              <a:gd name="T69" fmla="*/ 876 h 2928"/>
              <a:gd name="T70" fmla="*/ 2315 w 3208"/>
              <a:gd name="T71" fmla="*/ 1184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8" h="2928">
                <a:moveTo>
                  <a:pt x="0" y="0"/>
                </a:moveTo>
                <a:cubicBezTo>
                  <a:pt x="0" y="618"/>
                  <a:pt x="0" y="618"/>
                  <a:pt x="0" y="618"/>
                </a:cubicBezTo>
                <a:cubicBezTo>
                  <a:pt x="0" y="2928"/>
                  <a:pt x="0" y="2928"/>
                  <a:pt x="0" y="2928"/>
                </a:cubicBezTo>
                <a:cubicBezTo>
                  <a:pt x="3208" y="2928"/>
                  <a:pt x="3208" y="2928"/>
                  <a:pt x="3208" y="2928"/>
                </a:cubicBezTo>
                <a:cubicBezTo>
                  <a:pt x="3208" y="618"/>
                  <a:pt x="3208" y="618"/>
                  <a:pt x="3208" y="618"/>
                </a:cubicBezTo>
                <a:cubicBezTo>
                  <a:pt x="3208" y="0"/>
                  <a:pt x="3208" y="0"/>
                  <a:pt x="3208" y="0"/>
                </a:cubicBezTo>
                <a:lnTo>
                  <a:pt x="0" y="0"/>
                </a:lnTo>
                <a:close/>
                <a:moveTo>
                  <a:pt x="92" y="92"/>
                </a:moveTo>
                <a:cubicBezTo>
                  <a:pt x="3116" y="92"/>
                  <a:pt x="3116" y="92"/>
                  <a:pt x="3116" y="92"/>
                </a:cubicBezTo>
                <a:cubicBezTo>
                  <a:pt x="3116" y="528"/>
                  <a:pt x="3116" y="528"/>
                  <a:pt x="3116" y="528"/>
                </a:cubicBezTo>
                <a:cubicBezTo>
                  <a:pt x="92" y="528"/>
                  <a:pt x="92" y="528"/>
                  <a:pt x="92" y="528"/>
                </a:cubicBezTo>
                <a:lnTo>
                  <a:pt x="92" y="92"/>
                </a:lnTo>
                <a:close/>
                <a:moveTo>
                  <a:pt x="3116" y="2836"/>
                </a:moveTo>
                <a:cubicBezTo>
                  <a:pt x="92" y="2836"/>
                  <a:pt x="92" y="2836"/>
                  <a:pt x="92" y="2836"/>
                </a:cubicBezTo>
                <a:cubicBezTo>
                  <a:pt x="92" y="620"/>
                  <a:pt x="92" y="620"/>
                  <a:pt x="92" y="620"/>
                </a:cubicBezTo>
                <a:cubicBezTo>
                  <a:pt x="3116" y="620"/>
                  <a:pt x="3116" y="620"/>
                  <a:pt x="3116" y="620"/>
                </a:cubicBezTo>
                <a:lnTo>
                  <a:pt x="3116" y="2836"/>
                </a:lnTo>
                <a:close/>
                <a:moveTo>
                  <a:pt x="3012" y="245"/>
                </a:moveTo>
                <a:cubicBezTo>
                  <a:pt x="2933" y="324"/>
                  <a:pt x="2933" y="324"/>
                  <a:pt x="2933" y="324"/>
                </a:cubicBezTo>
                <a:cubicBezTo>
                  <a:pt x="3012" y="403"/>
                  <a:pt x="3012" y="403"/>
                  <a:pt x="3012" y="403"/>
                </a:cubicBezTo>
                <a:cubicBezTo>
                  <a:pt x="2947" y="468"/>
                  <a:pt x="2947" y="468"/>
                  <a:pt x="2947" y="468"/>
                </a:cubicBezTo>
                <a:cubicBezTo>
                  <a:pt x="2868" y="389"/>
                  <a:pt x="2868" y="389"/>
                  <a:pt x="2868" y="389"/>
                </a:cubicBezTo>
                <a:cubicBezTo>
                  <a:pt x="2789" y="468"/>
                  <a:pt x="2789" y="468"/>
                  <a:pt x="2789" y="468"/>
                </a:cubicBezTo>
                <a:cubicBezTo>
                  <a:pt x="2724" y="403"/>
                  <a:pt x="2724" y="403"/>
                  <a:pt x="2724" y="403"/>
                </a:cubicBezTo>
                <a:cubicBezTo>
                  <a:pt x="2803" y="324"/>
                  <a:pt x="2803" y="324"/>
                  <a:pt x="2803" y="324"/>
                </a:cubicBezTo>
                <a:cubicBezTo>
                  <a:pt x="2724" y="245"/>
                  <a:pt x="2724" y="245"/>
                  <a:pt x="2724" y="245"/>
                </a:cubicBezTo>
                <a:cubicBezTo>
                  <a:pt x="2789" y="180"/>
                  <a:pt x="2789" y="180"/>
                  <a:pt x="2789" y="180"/>
                </a:cubicBezTo>
                <a:cubicBezTo>
                  <a:pt x="2868" y="259"/>
                  <a:pt x="2868" y="259"/>
                  <a:pt x="2868" y="259"/>
                </a:cubicBezTo>
                <a:cubicBezTo>
                  <a:pt x="2947" y="180"/>
                  <a:pt x="2947" y="180"/>
                  <a:pt x="2947" y="180"/>
                </a:cubicBezTo>
                <a:lnTo>
                  <a:pt x="3012" y="245"/>
                </a:lnTo>
                <a:close/>
                <a:moveTo>
                  <a:pt x="2032" y="368"/>
                </a:moveTo>
                <a:cubicBezTo>
                  <a:pt x="2284" y="368"/>
                  <a:pt x="2284" y="368"/>
                  <a:pt x="2284" y="368"/>
                </a:cubicBezTo>
                <a:cubicBezTo>
                  <a:pt x="2284" y="460"/>
                  <a:pt x="2284" y="460"/>
                  <a:pt x="2284" y="460"/>
                </a:cubicBezTo>
                <a:cubicBezTo>
                  <a:pt x="2032" y="460"/>
                  <a:pt x="2032" y="460"/>
                  <a:pt x="2032" y="460"/>
                </a:cubicBezTo>
                <a:lnTo>
                  <a:pt x="2032" y="368"/>
                </a:lnTo>
                <a:close/>
                <a:moveTo>
                  <a:pt x="2352" y="460"/>
                </a:moveTo>
                <a:cubicBezTo>
                  <a:pt x="2652" y="460"/>
                  <a:pt x="2652" y="460"/>
                  <a:pt x="2652" y="460"/>
                </a:cubicBezTo>
                <a:cubicBezTo>
                  <a:pt x="2652" y="184"/>
                  <a:pt x="2652" y="184"/>
                  <a:pt x="2652" y="184"/>
                </a:cubicBezTo>
                <a:cubicBezTo>
                  <a:pt x="2352" y="184"/>
                  <a:pt x="2352" y="184"/>
                  <a:pt x="2352" y="184"/>
                </a:cubicBezTo>
                <a:lnTo>
                  <a:pt x="2352" y="460"/>
                </a:lnTo>
                <a:close/>
                <a:moveTo>
                  <a:pt x="2444" y="276"/>
                </a:moveTo>
                <a:cubicBezTo>
                  <a:pt x="2560" y="276"/>
                  <a:pt x="2560" y="276"/>
                  <a:pt x="2560" y="276"/>
                </a:cubicBezTo>
                <a:cubicBezTo>
                  <a:pt x="2560" y="368"/>
                  <a:pt x="2560" y="368"/>
                  <a:pt x="2560" y="368"/>
                </a:cubicBezTo>
                <a:cubicBezTo>
                  <a:pt x="2444" y="368"/>
                  <a:pt x="2444" y="368"/>
                  <a:pt x="2444" y="368"/>
                </a:cubicBezTo>
                <a:lnTo>
                  <a:pt x="2444" y="276"/>
                </a:lnTo>
                <a:close/>
                <a:moveTo>
                  <a:pt x="1575" y="2572"/>
                </a:moveTo>
                <a:cubicBezTo>
                  <a:pt x="1977" y="2572"/>
                  <a:pt x="2305" y="2243"/>
                  <a:pt x="2305" y="1839"/>
                </a:cubicBezTo>
                <a:cubicBezTo>
                  <a:pt x="2305" y="1723"/>
                  <a:pt x="2275" y="1608"/>
                  <a:pt x="2216" y="1497"/>
                </a:cubicBezTo>
                <a:cubicBezTo>
                  <a:pt x="2194" y="1456"/>
                  <a:pt x="2194" y="1456"/>
                  <a:pt x="2194" y="1456"/>
                </a:cubicBezTo>
                <a:cubicBezTo>
                  <a:pt x="1568" y="1802"/>
                  <a:pt x="1568" y="1802"/>
                  <a:pt x="1568" y="1802"/>
                </a:cubicBezTo>
                <a:cubicBezTo>
                  <a:pt x="1568" y="1105"/>
                  <a:pt x="1568" y="1105"/>
                  <a:pt x="1568" y="1105"/>
                </a:cubicBezTo>
                <a:cubicBezTo>
                  <a:pt x="1520" y="1107"/>
                  <a:pt x="1520" y="1107"/>
                  <a:pt x="1520" y="1107"/>
                </a:cubicBezTo>
                <a:cubicBezTo>
                  <a:pt x="1129" y="1123"/>
                  <a:pt x="834" y="1438"/>
                  <a:pt x="834" y="1839"/>
                </a:cubicBezTo>
                <a:cubicBezTo>
                  <a:pt x="834" y="2243"/>
                  <a:pt x="1167" y="2572"/>
                  <a:pt x="1575" y="2572"/>
                </a:cubicBezTo>
                <a:close/>
                <a:moveTo>
                  <a:pt x="1476" y="1203"/>
                </a:moveTo>
                <a:cubicBezTo>
                  <a:pt x="1476" y="1959"/>
                  <a:pt x="1476" y="1959"/>
                  <a:pt x="1476" y="1959"/>
                </a:cubicBezTo>
                <a:cubicBezTo>
                  <a:pt x="2155" y="1583"/>
                  <a:pt x="2155" y="1583"/>
                  <a:pt x="2155" y="1583"/>
                </a:cubicBezTo>
                <a:cubicBezTo>
                  <a:pt x="2193" y="1667"/>
                  <a:pt x="2212" y="1753"/>
                  <a:pt x="2212" y="1839"/>
                </a:cubicBezTo>
                <a:cubicBezTo>
                  <a:pt x="2212" y="2193"/>
                  <a:pt x="1926" y="2480"/>
                  <a:pt x="1575" y="2480"/>
                </a:cubicBezTo>
                <a:cubicBezTo>
                  <a:pt x="1217" y="2480"/>
                  <a:pt x="926" y="2193"/>
                  <a:pt x="926" y="1839"/>
                </a:cubicBezTo>
                <a:cubicBezTo>
                  <a:pt x="926" y="1505"/>
                  <a:pt x="1160" y="1239"/>
                  <a:pt x="1476" y="1203"/>
                </a:cubicBezTo>
                <a:close/>
                <a:moveTo>
                  <a:pt x="2420" y="1177"/>
                </a:moveTo>
                <a:cubicBezTo>
                  <a:pt x="2296" y="933"/>
                  <a:pt x="2035" y="775"/>
                  <a:pt x="1754" y="775"/>
                </a:cubicBezTo>
                <a:cubicBezTo>
                  <a:pt x="1743" y="775"/>
                  <a:pt x="1706" y="776"/>
                  <a:pt x="1706" y="776"/>
                </a:cubicBezTo>
                <a:cubicBezTo>
                  <a:pt x="1660" y="777"/>
                  <a:pt x="1660" y="777"/>
                  <a:pt x="1660" y="777"/>
                </a:cubicBezTo>
                <a:cubicBezTo>
                  <a:pt x="1660" y="1647"/>
                  <a:pt x="1660" y="1647"/>
                  <a:pt x="1660" y="1647"/>
                </a:cubicBezTo>
                <a:cubicBezTo>
                  <a:pt x="2439" y="1217"/>
                  <a:pt x="2439" y="1217"/>
                  <a:pt x="2439" y="1217"/>
                </a:cubicBezTo>
                <a:lnTo>
                  <a:pt x="2420" y="1177"/>
                </a:lnTo>
                <a:close/>
                <a:moveTo>
                  <a:pt x="1752" y="1491"/>
                </a:moveTo>
                <a:cubicBezTo>
                  <a:pt x="1752" y="876"/>
                  <a:pt x="1752" y="876"/>
                  <a:pt x="1752" y="876"/>
                </a:cubicBezTo>
                <a:cubicBezTo>
                  <a:pt x="1752" y="876"/>
                  <a:pt x="1754" y="876"/>
                  <a:pt x="1754" y="876"/>
                </a:cubicBezTo>
                <a:cubicBezTo>
                  <a:pt x="1985" y="876"/>
                  <a:pt x="2200" y="993"/>
                  <a:pt x="2315" y="1184"/>
                </a:cubicBezTo>
                <a:lnTo>
                  <a:pt x="1752" y="14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useBgFill="1">
        <p:nvSpPr>
          <p:cNvPr id="3" name="Rectangle 2"/>
          <p:cNvSpPr/>
          <p:nvPr/>
        </p:nvSpPr>
        <p:spPr bwMode="auto">
          <a:xfrm>
            <a:off x="6347327" y="2324657"/>
            <a:ext cx="7859320" cy="203931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extBox 1"/>
          <p:cNvSpPr txBox="1"/>
          <p:nvPr/>
        </p:nvSpPr>
        <p:spPr>
          <a:xfrm>
            <a:off x="6399043" y="2813982"/>
            <a:ext cx="2481419" cy="1375872"/>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3823" b="0" i="0" u="none" strike="noStrike" kern="0" cap="none" spc="-49" normalizeH="0" baseline="0" noProof="0" dirty="0">
                <a:ln>
                  <a:noFill/>
                </a:ln>
                <a:gradFill>
                  <a:gsLst>
                    <a:gs pos="2917">
                      <a:srgbClr val="FFFFFF"/>
                    </a:gs>
                    <a:gs pos="30000">
                      <a:srgbClr val="FFFFFF"/>
                    </a:gs>
                  </a:gsLst>
                  <a:lin ang="5400000" scaled="0"/>
                </a:gradFill>
                <a:effectLst/>
                <a:uLnTx/>
                <a:uFillTx/>
                <a:latin typeface="Segoe UI Light"/>
              </a:rPr>
              <a:t>Intelligent </a:t>
            </a:r>
            <a:br>
              <a:rPr kumimoji="0" lang="en-US" sz="3823" b="0" i="0" u="none" strike="noStrike" kern="0" cap="none" spc="-49" normalizeH="0" baseline="0" noProof="0" dirty="0">
                <a:ln>
                  <a:noFill/>
                </a:ln>
                <a:gradFill>
                  <a:gsLst>
                    <a:gs pos="2917">
                      <a:srgbClr val="FFFFFF"/>
                    </a:gs>
                    <a:gs pos="30000">
                      <a:srgbClr val="FFFFFF"/>
                    </a:gs>
                  </a:gsLst>
                  <a:lin ang="5400000" scaled="0"/>
                </a:gradFill>
                <a:effectLst/>
                <a:uLnTx/>
                <a:uFillTx/>
                <a:latin typeface="Segoe UI Light"/>
              </a:rPr>
            </a:br>
            <a:r>
              <a:rPr kumimoji="0" lang="en-US" sz="3823" b="0" i="0" u="none" strike="noStrike" kern="0" cap="none" spc="-49" normalizeH="0" baseline="0" noProof="0" dirty="0">
                <a:ln>
                  <a:noFill/>
                </a:ln>
                <a:gradFill>
                  <a:gsLst>
                    <a:gs pos="2917">
                      <a:srgbClr val="FFFFFF"/>
                    </a:gs>
                    <a:gs pos="30000">
                      <a:srgbClr val="FFFFFF"/>
                    </a:gs>
                  </a:gsLst>
                  <a:lin ang="5400000" scaled="0"/>
                </a:gradFill>
                <a:effectLst/>
                <a:uLnTx/>
                <a:uFillTx/>
                <a:latin typeface="Segoe UI Light"/>
              </a:rPr>
              <a:t>action</a:t>
            </a:r>
          </a:p>
        </p:txBody>
      </p:sp>
      <p:sp>
        <p:nvSpPr>
          <p:cNvPr id="25" name="Freeform 21"/>
          <p:cNvSpPr>
            <a:spLocks/>
          </p:cNvSpPr>
          <p:nvPr/>
        </p:nvSpPr>
        <p:spPr bwMode="auto">
          <a:xfrm>
            <a:off x="13208965" y="3058112"/>
            <a:ext cx="870560" cy="851600"/>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useBgFill="1">
        <p:nvSpPr>
          <p:cNvPr id="9" name="DELAY"/>
          <p:cNvSpPr/>
          <p:nvPr/>
        </p:nvSpPr>
        <p:spPr bwMode="auto">
          <a:xfrm>
            <a:off x="12192000" y="-817989"/>
            <a:ext cx="818476" cy="81847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Freeform 5"/>
          <p:cNvSpPr>
            <a:spLocks noEditPoints="1"/>
          </p:cNvSpPr>
          <p:nvPr/>
        </p:nvSpPr>
        <p:spPr bwMode="auto">
          <a:xfrm>
            <a:off x="5415115" y="3340651"/>
            <a:ext cx="932212" cy="278621"/>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8" name="TextBox 27"/>
          <p:cNvSpPr txBox="1"/>
          <p:nvPr/>
        </p:nvSpPr>
        <p:spPr>
          <a:xfrm>
            <a:off x="7819915"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Why did it </a:t>
            </a: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rPr>
              <a:t>happen?</a:t>
            </a:r>
          </a:p>
        </p:txBody>
      </p:sp>
      <p:sp>
        <p:nvSpPr>
          <p:cNvPr id="29" name="TextBox 28"/>
          <p:cNvSpPr txBox="1"/>
          <p:nvPr/>
        </p:nvSpPr>
        <p:spPr>
          <a:xfrm>
            <a:off x="9747442"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What will </a:t>
            </a: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rPr>
              <a:t>happen?</a:t>
            </a:r>
          </a:p>
        </p:txBody>
      </p:sp>
      <p:sp>
        <p:nvSpPr>
          <p:cNvPr id="30" name="TextBox 29"/>
          <p:cNvSpPr txBox="1"/>
          <p:nvPr/>
        </p:nvSpPr>
        <p:spPr>
          <a:xfrm>
            <a:off x="11623744"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What</a:t>
            </a: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rPr>
              <a:t> should I do?</a:t>
            </a:r>
          </a:p>
        </p:txBody>
      </p:sp>
      <p:sp>
        <p:nvSpPr>
          <p:cNvPr id="31" name="TextBox 30"/>
          <p:cNvSpPr txBox="1"/>
          <p:nvPr/>
        </p:nvSpPr>
        <p:spPr>
          <a:xfrm>
            <a:off x="5956419"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What</a:t>
            </a: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rPr>
              <a:t> happened?</a:t>
            </a:r>
          </a:p>
        </p:txBody>
      </p:sp>
      <p:grpSp>
        <p:nvGrpSpPr>
          <p:cNvPr id="42" name="Group 41"/>
          <p:cNvGrpSpPr/>
          <p:nvPr/>
        </p:nvGrpSpPr>
        <p:grpSpPr>
          <a:xfrm>
            <a:off x="10851839" y="290613"/>
            <a:ext cx="1049875" cy="1356759"/>
            <a:chOff x="8856125" y="1067127"/>
            <a:chExt cx="528555" cy="752153"/>
          </a:xfrm>
        </p:grpSpPr>
        <p:sp>
          <p:nvSpPr>
            <p:cNvPr id="43"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rot="10800000">
              <a:off x="8985702" y="1454736"/>
              <a:ext cx="274574" cy="364544"/>
              <a:chOff x="-1278804" y="2084340"/>
              <a:chExt cx="217157" cy="248510"/>
            </a:xfrm>
            <a:gradFill>
              <a:gsLst>
                <a:gs pos="0">
                  <a:srgbClr val="FFFFFF"/>
                </a:gs>
                <a:gs pos="100000">
                  <a:srgbClr val="FFFFFF">
                    <a:alpha val="0"/>
                  </a:srgbClr>
                </a:gs>
              </a:gsLst>
              <a:lin ang="16200000" scaled="1"/>
            </a:gradFill>
          </p:grpSpPr>
          <p:sp>
            <p:nvSpPr>
              <p:cNvPr id="4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648426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6" presetClass="emph" presetSubtype="0" accel="100000" autoRev="1" fill="hold" grpId="1" nodeType="withEffect">
                                  <p:stCondLst>
                                    <p:cond delay="0"/>
                                  </p:stCondLst>
                                  <p:childTnLst>
                                    <p:animScale>
                                      <p:cBhvr>
                                        <p:cTn id="9" dur="750" fill="hold"/>
                                        <p:tgtEl>
                                          <p:spTgt spid="14"/>
                                        </p:tgtEl>
                                      </p:cBhvr>
                                      <p:by x="80000" y="80000"/>
                                    </p:animScale>
                                  </p:childTnLst>
                                </p:cTn>
                              </p:par>
                              <p:par>
                                <p:cTn id="10" presetID="10" presetClass="entr" presetSubtype="0" fill="hold" nodeType="withEffect">
                                  <p:stCondLst>
                                    <p:cond delay="15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15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250"/>
                                        <p:tgtEl>
                                          <p:spTgt spid="27"/>
                                        </p:tgtEl>
                                      </p:cBhvr>
                                    </p:animEffect>
                                  </p:childTnLst>
                                </p:cTn>
                              </p:par>
                              <p:par>
                                <p:cTn id="16" presetID="35" presetClass="path" presetSubtype="0" decel="100000" fill="hold" grpId="1" nodeType="withEffect">
                                  <p:stCondLst>
                                    <p:cond delay="800"/>
                                  </p:stCondLst>
                                  <p:childTnLst>
                                    <p:animMotion origin="layout" path="M 1.87133E-6 3.25011E-6 L -0.04685 3.25011E-6 " pathEditMode="relative" rAng="0" ptsTypes="AA">
                                      <p:cBhvr>
                                        <p:cTn id="17" dur="1500" spd="-100000" fill="hold"/>
                                        <p:tgtEl>
                                          <p:spTgt spid="27"/>
                                        </p:tgtEl>
                                        <p:attrNameLst>
                                          <p:attrName>ppt_x</p:attrName>
                                          <p:attrName>ppt_y</p:attrName>
                                        </p:attrNameLst>
                                      </p:cBhvr>
                                      <p:rCtr x="-2349" y="0"/>
                                    </p:animMotion>
                                  </p:childTnLst>
                                </p:cTn>
                              </p:par>
                              <p:par>
                                <p:cTn id="18" presetID="35" presetClass="path" presetSubtype="0" decel="100000" fill="hold" nodeType="withEffect">
                                  <p:stCondLst>
                                    <p:cond delay="800"/>
                                  </p:stCondLst>
                                  <p:childTnLst>
                                    <p:animMotion origin="layout" path="M 1.87133E-6 3.25011E-6 L -0.04685 3.25011E-6 " pathEditMode="relative" rAng="0" ptsTypes="AA">
                                      <p:cBhvr>
                                        <p:cTn id="19" dur="1500" spd="-100000" fill="hold"/>
                                        <p:tgtEl>
                                          <p:spTgt spid="5"/>
                                        </p:tgtEl>
                                        <p:attrNameLst>
                                          <p:attrName>ppt_x</p:attrName>
                                          <p:attrName>ppt_y</p:attrName>
                                        </p:attrNameLst>
                                      </p:cBhvr>
                                      <p:rCtr x="-2349" y="0"/>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6" presetClass="emph" presetSubtype="0" accel="100000" autoRev="1" fill="hold" nodeType="withEffect">
                                  <p:stCondLst>
                                    <p:cond delay="100"/>
                                  </p:stCondLst>
                                  <p:childTnLst>
                                    <p:animScale>
                                      <p:cBhvr>
                                        <p:cTn id="24" dur="750" fill="hold"/>
                                        <p:tgtEl>
                                          <p:spTgt spid="16"/>
                                        </p:tgtEl>
                                      </p:cBhvr>
                                      <p:by x="80000" y="80000"/>
                                    </p:animScale>
                                  </p:childTnLst>
                                </p:cTn>
                              </p:par>
                              <p:par>
                                <p:cTn id="25" presetID="10" presetClass="entr" presetSubtype="0" fill="hold" grpId="0" nodeType="withEffect">
                                  <p:stCondLst>
                                    <p:cond delay="9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grpId="1" nodeType="withEffect">
                                  <p:stCondLst>
                                    <p:cond delay="200"/>
                                  </p:stCondLst>
                                  <p:childTnLst>
                                    <p:animScale>
                                      <p:cBhvr>
                                        <p:cTn id="29" dur="750" fill="hold"/>
                                        <p:tgtEl>
                                          <p:spTgt spid="13"/>
                                        </p:tgtEl>
                                      </p:cBhvr>
                                      <p:by x="80000" y="80000"/>
                                    </p:animScale>
                                  </p:childTnLst>
                                </p:cTn>
                              </p:par>
                              <p:par>
                                <p:cTn id="30" presetID="10" presetClass="entr" presetSubtype="0" fill="hold" grpId="0" nodeType="withEffect">
                                  <p:stCondLst>
                                    <p:cond delay="10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6" presetClass="emph" presetSubtype="0" accel="100000" autoRev="1" fill="hold" grpId="1" nodeType="withEffect">
                                  <p:stCondLst>
                                    <p:cond delay="300"/>
                                  </p:stCondLst>
                                  <p:childTnLst>
                                    <p:animScale>
                                      <p:cBhvr>
                                        <p:cTn id="34" dur="750" fill="hold"/>
                                        <p:tgtEl>
                                          <p:spTgt spid="15"/>
                                        </p:tgtEl>
                                      </p:cBhvr>
                                      <p:by x="80000" y="80000"/>
                                    </p:animScale>
                                  </p:childTnLst>
                                </p:cTn>
                              </p:par>
                              <p:par>
                                <p:cTn id="35" presetID="10" presetClass="entr" presetSubtype="0" fill="hold" grpId="0" nodeType="withEffect">
                                  <p:stCondLst>
                                    <p:cond delay="115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50"/>
                                        <p:tgtEl>
                                          <p:spTgt spid="8"/>
                                        </p:tgtEl>
                                      </p:cBhvr>
                                    </p:animEffect>
                                  </p:childTnLst>
                                </p:cTn>
                              </p:par>
                              <p:par>
                                <p:cTn id="38" presetID="6" presetClass="emph" presetSubtype="0" accel="100000" autoRev="1" fill="hold" grpId="1" nodeType="withEffect">
                                  <p:stCondLst>
                                    <p:cond delay="500"/>
                                  </p:stCondLst>
                                  <p:childTnLst>
                                    <p:animScale>
                                      <p:cBhvr>
                                        <p:cTn id="39" dur="750" fill="hold"/>
                                        <p:tgtEl>
                                          <p:spTgt spid="8"/>
                                        </p:tgtEl>
                                      </p:cBhvr>
                                      <p:by x="80000" y="80000"/>
                                    </p:animScale>
                                  </p:childTnLst>
                                </p:cTn>
                              </p:par>
                              <p:par>
                                <p:cTn id="40" presetID="35" presetClass="path" presetSubtype="0" decel="100000" fill="hold" grpId="0" nodeType="withEffect">
                                  <p:stCondLst>
                                    <p:cond delay="800"/>
                                  </p:stCondLst>
                                  <p:childTnLst>
                                    <p:animMotion origin="layout" path="M 1.87133E-6 3.25011E-6 L -0.04685 3.25011E-6 " pathEditMode="relative" rAng="0" ptsTypes="AA">
                                      <p:cBhvr>
                                        <p:cTn id="41" dur="1500" spd="-100000" fill="hold"/>
                                        <p:tgtEl>
                                          <p:spTgt spid="3"/>
                                        </p:tgtEl>
                                        <p:attrNameLst>
                                          <p:attrName>ppt_x</p:attrName>
                                          <p:attrName>ppt_y</p:attrName>
                                        </p:attrNameLst>
                                      </p:cBhvr>
                                      <p:rCtr x="-2349" y="0"/>
                                    </p:animMotion>
                                  </p:childTnLst>
                                </p:cTn>
                              </p:par>
                              <p:par>
                                <p:cTn id="42" presetID="10" presetClass="entr" presetSubtype="0" fill="hold" grpId="0" nodeType="withEffect">
                                  <p:stCondLst>
                                    <p:cond delay="16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par>
                                <p:cTn id="45" presetID="35" presetClass="path" presetSubtype="0" decel="100000" fill="hold" grpId="1" nodeType="withEffect">
                                  <p:stCondLst>
                                    <p:cond delay="900"/>
                                  </p:stCondLst>
                                  <p:childTnLst>
                                    <p:animMotion origin="layout" path="M 2.47894E-6 2.7281E-6 L -0.04685 2.7281E-6 " pathEditMode="relative" rAng="0" ptsTypes="AA">
                                      <p:cBhvr>
                                        <p:cTn id="46" dur="1400" spd="-100000" fill="hold"/>
                                        <p:tgtEl>
                                          <p:spTgt spid="2"/>
                                        </p:tgtEl>
                                        <p:attrNameLst>
                                          <p:attrName>ppt_x</p:attrName>
                                          <p:attrName>ppt_y</p:attrName>
                                        </p:attrNameLst>
                                      </p:cBhvr>
                                      <p:rCtr x="-2349" y="0"/>
                                    </p:animMotion>
                                  </p:childTnLst>
                                </p:cTn>
                              </p:par>
                              <p:par>
                                <p:cTn id="47" presetID="1" presetClass="entr" presetSubtype="0" fill="hold" grpId="0" nodeType="withEffect">
                                  <p:stCondLst>
                                    <p:cond delay="75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75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250"/>
                                        <p:tgtEl>
                                          <p:spTgt spid="21"/>
                                        </p:tgtEl>
                                      </p:cBhvr>
                                    </p:animEffect>
                                  </p:childTnLst>
                                </p:cTn>
                              </p:par>
                              <p:par>
                                <p:cTn id="54" presetID="6" presetClass="emph" presetSubtype="0" accel="100000" autoRev="1" fill="hold" grpId="1" nodeType="withEffect">
                                  <p:stCondLst>
                                    <p:cond delay="0"/>
                                  </p:stCondLst>
                                  <p:childTnLst>
                                    <p:animScale>
                                      <p:cBhvr>
                                        <p:cTn id="55" dur="750" fill="hold"/>
                                        <p:tgtEl>
                                          <p:spTgt spid="21"/>
                                        </p:tgtEl>
                                      </p:cBhvr>
                                      <p:by x="80000" y="80000"/>
                                    </p:animScale>
                                  </p:childTnLst>
                                </p:cTn>
                              </p:par>
                              <p:par>
                                <p:cTn id="56" presetID="10" presetClass="entr" presetSubtype="0" fill="hold" grpId="0" nodeType="withEffect">
                                  <p:stCondLst>
                                    <p:cond delay="10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50"/>
                                        <p:tgtEl>
                                          <p:spTgt spid="24"/>
                                        </p:tgtEl>
                                      </p:cBhvr>
                                    </p:animEffect>
                                  </p:childTnLst>
                                </p:cTn>
                              </p:par>
                              <p:par>
                                <p:cTn id="59" presetID="6" presetClass="emph" presetSubtype="0" accel="100000" autoRev="1" fill="hold" grpId="1" nodeType="withEffect">
                                  <p:stCondLst>
                                    <p:cond delay="250"/>
                                  </p:stCondLst>
                                  <p:childTnLst>
                                    <p:animScale>
                                      <p:cBhvr>
                                        <p:cTn id="60" dur="750" fill="hold"/>
                                        <p:tgtEl>
                                          <p:spTgt spid="24"/>
                                        </p:tgtEl>
                                      </p:cBhvr>
                                      <p:by x="80000" y="80000"/>
                                    </p:animScale>
                                  </p:childTnLst>
                                </p:cTn>
                              </p:par>
                              <p:par>
                                <p:cTn id="61" presetID="10" presetClass="entr" presetSubtype="0" fill="hold" grpId="0" nodeType="withEffect">
                                  <p:stCondLst>
                                    <p:cond delay="125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250"/>
                                        <p:tgtEl>
                                          <p:spTgt spid="23"/>
                                        </p:tgtEl>
                                      </p:cBhvr>
                                    </p:animEffect>
                                  </p:childTnLst>
                                </p:cTn>
                              </p:par>
                              <p:par>
                                <p:cTn id="64" presetID="6" presetClass="emph" presetSubtype="0" accel="100000" autoRev="1" fill="hold" grpId="1" nodeType="withEffect">
                                  <p:stCondLst>
                                    <p:cond delay="500"/>
                                  </p:stCondLst>
                                  <p:childTnLst>
                                    <p:animScale>
                                      <p:cBhvr>
                                        <p:cTn id="65" dur="750" fill="hold"/>
                                        <p:tgtEl>
                                          <p:spTgt spid="23"/>
                                        </p:tgtEl>
                                      </p:cBhvr>
                                      <p:by x="80000" y="80000"/>
                                    </p:animScale>
                                  </p:childTnLst>
                                </p:cTn>
                              </p:par>
                              <p:par>
                                <p:cTn id="66" presetID="10" presetClass="entr" presetSubtype="0" fill="hold" grpId="0" nodeType="withEffect">
                                  <p:stCondLst>
                                    <p:cond delay="150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250"/>
                                        <p:tgtEl>
                                          <p:spTgt spid="22"/>
                                        </p:tgtEl>
                                      </p:cBhvr>
                                    </p:animEffect>
                                  </p:childTnLst>
                                </p:cTn>
                              </p:par>
                              <p:par>
                                <p:cTn id="69" presetID="6" presetClass="emph" presetSubtype="0" accel="100000" autoRev="1" fill="hold" grpId="1" nodeType="withEffect">
                                  <p:stCondLst>
                                    <p:cond delay="750"/>
                                  </p:stCondLst>
                                  <p:childTnLst>
                                    <p:animScale>
                                      <p:cBhvr>
                                        <p:cTn id="70" dur="750" fill="hold"/>
                                        <p:tgtEl>
                                          <p:spTgt spid="22"/>
                                        </p:tgtEl>
                                      </p:cBhvr>
                                      <p:by x="80000" y="80000"/>
                                    </p:animScale>
                                  </p:childTnLst>
                                </p:cTn>
                              </p:par>
                              <p:par>
                                <p:cTn id="71" presetID="10" presetClass="entr" presetSubtype="0" fill="hold" grpId="0" nodeType="withEffect">
                                  <p:stCondLst>
                                    <p:cond delay="185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50"/>
                                        <p:tgtEl>
                                          <p:spTgt spid="25"/>
                                        </p:tgtEl>
                                      </p:cBhvr>
                                    </p:animEffect>
                                  </p:childTnLst>
                                </p:cTn>
                              </p:par>
                              <p:par>
                                <p:cTn id="74" presetID="6" presetClass="emph" presetSubtype="0" accel="100000" autoRev="1" fill="hold" grpId="1" nodeType="withEffect">
                                  <p:stCondLst>
                                    <p:cond delay="1000"/>
                                  </p:stCondLst>
                                  <p:childTnLst>
                                    <p:animScale>
                                      <p:cBhvr>
                                        <p:cTn id="75" dur="750" fill="hold"/>
                                        <p:tgtEl>
                                          <p:spTgt spid="25"/>
                                        </p:tgtEl>
                                      </p:cBhvr>
                                      <p:by x="80000" y="80000"/>
                                    </p:animScale>
                                  </p:childTnLst>
                                </p:cTn>
                              </p:par>
                              <p:par>
                                <p:cTn id="76" presetID="42" presetClass="path" presetSubtype="0" accel="10000" decel="90000" fill="hold" grpId="2" nodeType="withEffect">
                                  <p:stCondLst>
                                    <p:cond delay="500"/>
                                  </p:stCondLst>
                                  <p:childTnLst>
                                    <p:animMotion origin="layout" path="M -1.12841E-6 -6.7635E-7 L -0.35333 -6.7635E-7 " pathEditMode="relative" rAng="0" ptsTypes="AA">
                                      <p:cBhvr>
                                        <p:cTn id="77" dur="2000" fill="hold"/>
                                        <p:tgtEl>
                                          <p:spTgt spid="25"/>
                                        </p:tgtEl>
                                        <p:attrNameLst>
                                          <p:attrName>ppt_x</p:attrName>
                                          <p:attrName>ppt_y</p:attrName>
                                        </p:attrNameLst>
                                      </p:cBhvr>
                                      <p:rCtr x="-17667" y="0"/>
                                    </p:animMotion>
                                  </p:childTnLst>
                                </p:cTn>
                              </p:par>
                              <p:par>
                                <p:cTn id="78" presetID="42" presetClass="path" presetSubtype="0" accel="10000" decel="90000" fill="hold" grpId="2" nodeType="withEffect">
                                  <p:stCondLst>
                                    <p:cond delay="500"/>
                                  </p:stCondLst>
                                  <p:childTnLst>
                                    <p:animMotion origin="layout" path="M -1.12841E-6 -6.7635E-7 L -0.35333 -6.7635E-7 " pathEditMode="relative" rAng="0" ptsTypes="AA">
                                      <p:cBhvr>
                                        <p:cTn id="79" dur="2000" fill="hold"/>
                                        <p:tgtEl>
                                          <p:spTgt spid="22"/>
                                        </p:tgtEl>
                                        <p:attrNameLst>
                                          <p:attrName>ppt_x</p:attrName>
                                          <p:attrName>ppt_y</p:attrName>
                                        </p:attrNameLst>
                                      </p:cBhvr>
                                      <p:rCtr x="-17667" y="0"/>
                                    </p:animMotion>
                                  </p:childTnLst>
                                </p:cTn>
                              </p:par>
                              <p:par>
                                <p:cTn id="80" presetID="42" presetClass="path" presetSubtype="0" accel="10000" decel="90000" fill="hold" grpId="2" nodeType="withEffect">
                                  <p:stCondLst>
                                    <p:cond delay="500"/>
                                  </p:stCondLst>
                                  <p:childTnLst>
                                    <p:animMotion origin="layout" path="M -2.24917E-6 3.85837E-7 L -0.35333 -1.14389E-6 " pathEditMode="relative" rAng="0" ptsTypes="AA">
                                      <p:cBhvr>
                                        <p:cTn id="81" dur="2000" fill="hold"/>
                                        <p:tgtEl>
                                          <p:spTgt spid="23"/>
                                        </p:tgtEl>
                                        <p:attrNameLst>
                                          <p:attrName>ppt_x</p:attrName>
                                          <p:attrName>ppt_y</p:attrName>
                                        </p:attrNameLst>
                                      </p:cBhvr>
                                      <p:rCtr x="-16748" y="-1089"/>
                                    </p:animMotion>
                                  </p:childTnLst>
                                </p:cTn>
                              </p:par>
                              <p:par>
                                <p:cTn id="82" presetID="42" presetClass="path" presetSubtype="0" accel="10000" decel="90000" fill="hold" grpId="2" nodeType="withEffect">
                                  <p:stCondLst>
                                    <p:cond delay="500"/>
                                  </p:stCondLst>
                                  <p:childTnLst>
                                    <p:animMotion origin="layout" path="M -2.24917E-6 3.85837E-7 L -0.35333 -1.14389E-6 " pathEditMode="relative" rAng="0" ptsTypes="AA">
                                      <p:cBhvr>
                                        <p:cTn id="83" dur="2000" fill="hold"/>
                                        <p:tgtEl>
                                          <p:spTgt spid="24"/>
                                        </p:tgtEl>
                                        <p:attrNameLst>
                                          <p:attrName>ppt_x</p:attrName>
                                          <p:attrName>ppt_y</p:attrName>
                                        </p:attrNameLst>
                                      </p:cBhvr>
                                      <p:rCtr x="-16748" y="-1089"/>
                                    </p:animMotion>
                                  </p:childTnLst>
                                </p:cTn>
                              </p:par>
                              <p:par>
                                <p:cTn id="84" presetID="42" presetClass="path" presetSubtype="0" accel="10000" decel="90000" fill="hold" grpId="2" nodeType="withEffect">
                                  <p:stCondLst>
                                    <p:cond delay="500"/>
                                  </p:stCondLst>
                                  <p:childTnLst>
                                    <p:animMotion origin="layout" path="M -2.24917E-6 3.85837E-7 L -0.35333 -1.14389E-6 " pathEditMode="relative" rAng="0" ptsTypes="AA">
                                      <p:cBhvr>
                                        <p:cTn id="85" dur="2000" fill="hold"/>
                                        <p:tgtEl>
                                          <p:spTgt spid="21"/>
                                        </p:tgtEl>
                                        <p:attrNameLst>
                                          <p:attrName>ppt_x</p:attrName>
                                          <p:attrName>ppt_y</p:attrName>
                                        </p:attrNameLst>
                                      </p:cBhvr>
                                      <p:rCtr x="-16748" y="-1089"/>
                                    </p:animMotion>
                                  </p:childTnLst>
                                </p:cTn>
                              </p:par>
                              <p:par>
                                <p:cTn id="86" presetID="42" presetClass="path" presetSubtype="0" accel="10000" decel="90000" fill="hold" grpId="2" nodeType="withEffect">
                                  <p:stCondLst>
                                    <p:cond delay="500"/>
                                  </p:stCondLst>
                                  <p:childTnLst>
                                    <p:animMotion origin="layout" path="M 2.47894E-6 2.7281E-6 L 0.28108 2.7281E-6 " pathEditMode="relative" rAng="0" ptsTypes="AA">
                                      <p:cBhvr>
                                        <p:cTn id="87" dur="2000" fill="hold"/>
                                        <p:tgtEl>
                                          <p:spTgt spid="2"/>
                                        </p:tgtEl>
                                        <p:attrNameLst>
                                          <p:attrName>ppt_x</p:attrName>
                                          <p:attrName>ppt_y</p:attrName>
                                        </p:attrNameLst>
                                      </p:cBhvr>
                                      <p:rCtr x="14054" y="0"/>
                                    </p:animMotion>
                                  </p:childTnLst>
                                </p:cTn>
                              </p:par>
                              <p:par>
                                <p:cTn id="88" presetID="42" presetClass="path" presetSubtype="0" accel="10000" decel="90000" fill="hold" grpId="1" nodeType="withEffect">
                                  <p:stCondLst>
                                    <p:cond delay="500"/>
                                  </p:stCondLst>
                                  <p:childTnLst>
                                    <p:animMotion origin="layout" path="M -4.43707E-6 2.97776E-6 L 0.28326 2.97776E-6 " pathEditMode="relative" rAng="0" ptsTypes="AA">
                                      <p:cBhvr>
                                        <p:cTn id="89" dur="2000" fill="hold"/>
                                        <p:tgtEl>
                                          <p:spTgt spid="3"/>
                                        </p:tgtEl>
                                        <p:attrNameLst>
                                          <p:attrName>ppt_x</p:attrName>
                                          <p:attrName>ppt_y</p:attrName>
                                        </p:attrNameLst>
                                      </p:cBhvr>
                                      <p:rCtr x="14156" y="0"/>
                                    </p:animMotion>
                                  </p:childTnLst>
                                </p:cTn>
                              </p:par>
                              <p:par>
                                <p:cTn id="90" presetID="42" presetClass="path" presetSubtype="0" accel="10000" decel="90000" fill="hold" grpId="2" nodeType="withEffect">
                                  <p:stCondLst>
                                    <p:cond delay="500"/>
                                  </p:stCondLst>
                                  <p:childTnLst>
                                    <p:animMotion origin="layout" path="M -2.24917E-6 3.85837E-7 L -0.35333 -1.14389E-6 " pathEditMode="relative" rAng="0" ptsTypes="AA">
                                      <p:cBhvr>
                                        <p:cTn id="91" dur="2000" fill="hold"/>
                                        <p:tgtEl>
                                          <p:spTgt spid="8"/>
                                        </p:tgtEl>
                                        <p:attrNameLst>
                                          <p:attrName>ppt_x</p:attrName>
                                          <p:attrName>ppt_y</p:attrName>
                                        </p:attrNameLst>
                                      </p:cBhvr>
                                      <p:rCtr x="-16748" y="-1089"/>
                                    </p:animMotion>
                                  </p:childTnLst>
                                </p:cTn>
                              </p:par>
                              <p:par>
                                <p:cTn id="92" presetID="42" presetClass="path" presetSubtype="0" accel="10000" decel="90000" fill="hold" nodeType="withEffect">
                                  <p:stCondLst>
                                    <p:cond delay="500"/>
                                  </p:stCondLst>
                                  <p:childTnLst>
                                    <p:animMotion origin="layout" path="M 1.87133E-6 3.25011E-6 L -0.35333 3.25011E-6 " pathEditMode="relative" rAng="0" ptsTypes="AA">
                                      <p:cBhvr>
                                        <p:cTn id="93" dur="2000" fill="hold"/>
                                        <p:tgtEl>
                                          <p:spTgt spid="5"/>
                                        </p:tgtEl>
                                        <p:attrNameLst>
                                          <p:attrName>ppt_x</p:attrName>
                                          <p:attrName>ppt_y</p:attrName>
                                        </p:attrNameLst>
                                      </p:cBhvr>
                                      <p:rCtr x="-17667" y="0"/>
                                    </p:animMotion>
                                  </p:childTnLst>
                                </p:cTn>
                              </p:par>
                              <p:par>
                                <p:cTn id="94" presetID="42" presetClass="path" presetSubtype="0" accel="10000" decel="90000" fill="hold" grpId="2" nodeType="withEffect">
                                  <p:stCondLst>
                                    <p:cond delay="500"/>
                                  </p:stCondLst>
                                  <p:childTnLst>
                                    <p:animMotion origin="layout" path="M -2.24917E-6 3.85837E-7 L -0.35333 -1.14389E-6 " pathEditMode="relative" rAng="0" ptsTypes="AA">
                                      <p:cBhvr>
                                        <p:cTn id="95" dur="2000" fill="hold"/>
                                        <p:tgtEl>
                                          <p:spTgt spid="15"/>
                                        </p:tgtEl>
                                        <p:attrNameLst>
                                          <p:attrName>ppt_x</p:attrName>
                                          <p:attrName>ppt_y</p:attrName>
                                        </p:attrNameLst>
                                      </p:cBhvr>
                                      <p:rCtr x="-16748" y="-1089"/>
                                    </p:animMotion>
                                  </p:childTnLst>
                                </p:cTn>
                              </p:par>
                              <p:par>
                                <p:cTn id="96" presetID="42" presetClass="path" presetSubtype="0" accel="10000" decel="90000" fill="hold" grpId="2" nodeType="withEffect">
                                  <p:stCondLst>
                                    <p:cond delay="500"/>
                                  </p:stCondLst>
                                  <p:childTnLst>
                                    <p:animMotion origin="layout" path="M -2.24917E-6 3.85837E-7 L -0.35333 -1.14389E-6 " pathEditMode="relative" rAng="0" ptsTypes="AA">
                                      <p:cBhvr>
                                        <p:cTn id="97" dur="2000" fill="hold"/>
                                        <p:tgtEl>
                                          <p:spTgt spid="13"/>
                                        </p:tgtEl>
                                        <p:attrNameLst>
                                          <p:attrName>ppt_x</p:attrName>
                                          <p:attrName>ppt_y</p:attrName>
                                        </p:attrNameLst>
                                      </p:cBhvr>
                                      <p:rCtr x="-16748" y="-1089"/>
                                    </p:animMotion>
                                  </p:childTnLst>
                                </p:cTn>
                              </p:par>
                              <p:par>
                                <p:cTn id="98" presetID="42" presetClass="path" presetSubtype="0" accel="10000" decel="90000" fill="hold" nodeType="withEffect">
                                  <p:stCondLst>
                                    <p:cond delay="500"/>
                                  </p:stCondLst>
                                  <p:childTnLst>
                                    <p:animMotion origin="layout" path="M -2.24917E-6 3.85837E-7 L -0.35333 -1.14389E-6 " pathEditMode="relative" rAng="0" ptsTypes="AA">
                                      <p:cBhvr>
                                        <p:cTn id="99" dur="2000" fill="hold"/>
                                        <p:tgtEl>
                                          <p:spTgt spid="16"/>
                                        </p:tgtEl>
                                        <p:attrNameLst>
                                          <p:attrName>ppt_x</p:attrName>
                                          <p:attrName>ppt_y</p:attrName>
                                        </p:attrNameLst>
                                      </p:cBhvr>
                                      <p:rCtr x="-16748" y="-1089"/>
                                    </p:animMotion>
                                  </p:childTnLst>
                                </p:cTn>
                              </p:par>
                              <p:par>
                                <p:cTn id="100" presetID="42" presetClass="path" presetSubtype="0" accel="10000" decel="90000" fill="hold" grpId="2" nodeType="withEffect">
                                  <p:stCondLst>
                                    <p:cond delay="500"/>
                                  </p:stCondLst>
                                  <p:childTnLst>
                                    <p:animMotion origin="layout" path="M -2.24917E-6 3.85837E-7 L -0.35333 -1.14389E-6 " pathEditMode="relative" rAng="0" ptsTypes="AA">
                                      <p:cBhvr>
                                        <p:cTn id="101" dur="2000" fill="hold"/>
                                        <p:tgtEl>
                                          <p:spTgt spid="14"/>
                                        </p:tgtEl>
                                        <p:attrNameLst>
                                          <p:attrName>ppt_x</p:attrName>
                                          <p:attrName>ppt_y</p:attrName>
                                        </p:attrNameLst>
                                      </p:cBhvr>
                                      <p:rCtr x="-16748" y="-1089"/>
                                    </p:animMotion>
                                  </p:childTnLst>
                                </p:cTn>
                              </p:par>
                              <p:par>
                                <p:cTn id="102" presetID="42" presetClass="path" presetSubtype="0" accel="10000" decel="90000" fill="hold" grpId="2" nodeType="withEffect">
                                  <p:stCondLst>
                                    <p:cond delay="500"/>
                                  </p:stCondLst>
                                  <p:childTnLst>
                                    <p:animMotion origin="layout" path="M 1.87133E-6 3.25011E-6 L -0.35333 3.25011E-6 " pathEditMode="relative" rAng="0" ptsTypes="AA">
                                      <p:cBhvr>
                                        <p:cTn id="103" dur="2000" fill="hold"/>
                                        <p:tgtEl>
                                          <p:spTgt spid="27"/>
                                        </p:tgtEl>
                                        <p:attrNameLst>
                                          <p:attrName>ppt_x</p:attrName>
                                          <p:attrName>ppt_y</p:attrName>
                                        </p:attrNameLst>
                                      </p:cBhvr>
                                      <p:rCtr x="-17667" y="0"/>
                                    </p:animMotion>
                                  </p:childTnLst>
                                </p:cTn>
                              </p:par>
                              <p:par>
                                <p:cTn id="104" presetID="10" presetClass="exit" presetSubtype="0" fill="hold" grpId="3" nodeType="withEffect">
                                  <p:stCondLst>
                                    <p:cond delay="500"/>
                                  </p:stCondLst>
                                  <p:childTnLst>
                                    <p:animEffect transition="out" filter="fade">
                                      <p:cBhvr>
                                        <p:cTn id="105" dur="250"/>
                                        <p:tgtEl>
                                          <p:spTgt spid="27"/>
                                        </p:tgtEl>
                                      </p:cBhvr>
                                    </p:animEffect>
                                    <p:set>
                                      <p:cBhvr>
                                        <p:cTn id="106" dur="1" fill="hold">
                                          <p:stCondLst>
                                            <p:cond delay="249"/>
                                          </p:stCondLst>
                                        </p:cTn>
                                        <p:tgtEl>
                                          <p:spTgt spid="27"/>
                                        </p:tgtEl>
                                        <p:attrNameLst>
                                          <p:attrName>style.visibility</p:attrName>
                                        </p:attrNameLst>
                                      </p:cBhvr>
                                      <p:to>
                                        <p:strVal val="hidden"/>
                                      </p:to>
                                    </p:set>
                                  </p:childTnLst>
                                </p:cTn>
                              </p:par>
                              <p:par>
                                <p:cTn id="107" presetID="10" presetClass="entr" presetSubtype="0" fill="hold" grpId="1" nodeType="withEffect">
                                  <p:stCondLst>
                                    <p:cond delay="75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250"/>
                                        <p:tgtEl>
                                          <p:spTgt spid="31"/>
                                        </p:tgtEl>
                                      </p:cBhvr>
                                    </p:animEffect>
                                  </p:childTnLst>
                                </p:cTn>
                              </p:par>
                              <p:par>
                                <p:cTn id="110" presetID="42" presetClass="path" presetSubtype="0" accel="10000" decel="90000" fill="hold" grpId="0" nodeType="withEffect">
                                  <p:stCondLst>
                                    <p:cond delay="500"/>
                                  </p:stCondLst>
                                  <p:childTnLst>
                                    <p:animMotion origin="layout" path="M 3.6916E-6 -2.94598E-6 L -0.35334 -2.94598E-6 " pathEditMode="relative" rAng="0" ptsTypes="AA">
                                      <p:cBhvr>
                                        <p:cTn id="111" dur="2000" fill="hold"/>
                                        <p:tgtEl>
                                          <p:spTgt spid="31"/>
                                        </p:tgtEl>
                                        <p:attrNameLst>
                                          <p:attrName>ppt_x</p:attrName>
                                          <p:attrName>ppt_y</p:attrName>
                                        </p:attrNameLst>
                                      </p:cBhvr>
                                      <p:rCtr x="-17667" y="0"/>
                                    </p:animMotion>
                                  </p:childTnLst>
                                </p:cTn>
                              </p:par>
                              <p:par>
                                <p:cTn id="112" presetID="10" presetClass="entr" presetSubtype="0" fill="hold" grpId="0" nodeType="withEffect">
                                  <p:stCondLst>
                                    <p:cond delay="1000"/>
                                  </p:stCondLst>
                                  <p:childTnLst>
                                    <p:set>
                                      <p:cBhvr>
                                        <p:cTn id="113" dur="1" fill="hold">
                                          <p:stCondLst>
                                            <p:cond delay="0"/>
                                          </p:stCondLst>
                                        </p:cTn>
                                        <p:tgtEl>
                                          <p:spTgt spid="28"/>
                                        </p:tgtEl>
                                        <p:attrNameLst>
                                          <p:attrName>style.visibility</p:attrName>
                                        </p:attrNameLst>
                                      </p:cBhvr>
                                      <p:to>
                                        <p:strVal val="visible"/>
                                      </p:to>
                                    </p:set>
                                    <p:animEffect transition="in" filter="fade">
                                      <p:cBhvr>
                                        <p:cTn id="114" dur="250"/>
                                        <p:tgtEl>
                                          <p:spTgt spid="28"/>
                                        </p:tgtEl>
                                      </p:cBhvr>
                                    </p:animEffect>
                                  </p:childTnLst>
                                </p:cTn>
                              </p:par>
                              <p:par>
                                <p:cTn id="115" presetID="42" presetClass="path" presetSubtype="0" accel="10000" decel="90000" fill="hold" grpId="1" nodeType="withEffect">
                                  <p:stCondLst>
                                    <p:cond delay="500"/>
                                  </p:stCondLst>
                                  <p:childTnLst>
                                    <p:animMotion origin="layout" path="M 3.6916E-6 -2.94598E-6 L -0.35334 -2.94598E-6 " pathEditMode="relative" rAng="0" ptsTypes="AA">
                                      <p:cBhvr>
                                        <p:cTn id="116" dur="2000" fill="hold"/>
                                        <p:tgtEl>
                                          <p:spTgt spid="28"/>
                                        </p:tgtEl>
                                        <p:attrNameLst>
                                          <p:attrName>ppt_x</p:attrName>
                                          <p:attrName>ppt_y</p:attrName>
                                        </p:attrNameLst>
                                      </p:cBhvr>
                                      <p:rCtr x="-17667" y="0"/>
                                    </p:animMotion>
                                  </p:childTnLst>
                                </p:cTn>
                              </p:par>
                              <p:par>
                                <p:cTn id="117" presetID="10" presetClass="entr" presetSubtype="0" fill="hold" grpId="0" nodeType="withEffect">
                                  <p:stCondLst>
                                    <p:cond delay="1250"/>
                                  </p:stCondLst>
                                  <p:childTnLst>
                                    <p:set>
                                      <p:cBhvr>
                                        <p:cTn id="118" dur="1" fill="hold">
                                          <p:stCondLst>
                                            <p:cond delay="0"/>
                                          </p:stCondLst>
                                        </p:cTn>
                                        <p:tgtEl>
                                          <p:spTgt spid="29"/>
                                        </p:tgtEl>
                                        <p:attrNameLst>
                                          <p:attrName>style.visibility</p:attrName>
                                        </p:attrNameLst>
                                      </p:cBhvr>
                                      <p:to>
                                        <p:strVal val="visible"/>
                                      </p:to>
                                    </p:set>
                                    <p:animEffect transition="in" filter="fade">
                                      <p:cBhvr>
                                        <p:cTn id="119" dur="250"/>
                                        <p:tgtEl>
                                          <p:spTgt spid="29"/>
                                        </p:tgtEl>
                                      </p:cBhvr>
                                    </p:animEffect>
                                  </p:childTnLst>
                                </p:cTn>
                              </p:par>
                              <p:par>
                                <p:cTn id="120" presetID="42" presetClass="path" presetSubtype="0" accel="10000" decel="90000" fill="hold" grpId="1" nodeType="withEffect">
                                  <p:stCondLst>
                                    <p:cond delay="500"/>
                                  </p:stCondLst>
                                  <p:childTnLst>
                                    <p:animMotion origin="layout" path="M 3.6916E-6 -2.94598E-6 L -0.35334 -2.94598E-6 " pathEditMode="relative" rAng="0" ptsTypes="AA">
                                      <p:cBhvr>
                                        <p:cTn id="121" dur="2000" fill="hold"/>
                                        <p:tgtEl>
                                          <p:spTgt spid="29"/>
                                        </p:tgtEl>
                                        <p:attrNameLst>
                                          <p:attrName>ppt_x</p:attrName>
                                          <p:attrName>ppt_y</p:attrName>
                                        </p:attrNameLst>
                                      </p:cBhvr>
                                      <p:rCtr x="-17667" y="0"/>
                                    </p:animMotion>
                                  </p:childTnLst>
                                </p:cTn>
                              </p:par>
                              <p:par>
                                <p:cTn id="122" presetID="10" presetClass="entr" presetSubtype="0" fill="hold" grpId="0" nodeType="withEffect">
                                  <p:stCondLst>
                                    <p:cond delay="150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250"/>
                                        <p:tgtEl>
                                          <p:spTgt spid="30"/>
                                        </p:tgtEl>
                                      </p:cBhvr>
                                    </p:animEffect>
                                  </p:childTnLst>
                                </p:cTn>
                              </p:par>
                              <p:par>
                                <p:cTn id="125" presetID="42" presetClass="path" presetSubtype="0" accel="10000" decel="90000" fill="hold" grpId="1" nodeType="withEffect">
                                  <p:stCondLst>
                                    <p:cond delay="500"/>
                                  </p:stCondLst>
                                  <p:childTnLst>
                                    <p:animMotion origin="layout" path="M 3.6916E-6 -2.94598E-6 L -0.35334 -2.94598E-6 " pathEditMode="relative" rAng="0" ptsTypes="AA">
                                      <p:cBhvr>
                                        <p:cTn id="126" dur="2000" fill="hold"/>
                                        <p:tgtEl>
                                          <p:spTgt spid="30"/>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P spid="3" grpId="0" animBg="1"/>
      <p:bldP spid="3" grpId="1" animBg="1"/>
      <p:bldP spid="2" grpId="0"/>
      <p:bldP spid="2" grpId="1"/>
      <p:bldP spid="2" grpId="2"/>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p:cNvGraphicFramePr>
            <a:graphicFrameLocks noChangeAspect="1"/>
          </p:cNvGraphicFramePr>
          <p:nvPr>
            <p:custDataLst>
              <p:tags r:id="rId2"/>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5" imgW="377" imgH="377" progId="TCLayout.ActiveDocument.1">
                  <p:embed/>
                </p:oleObj>
              </mc:Choice>
              <mc:Fallback>
                <p:oleObj name="think-cell Slide" r:id="rId5" imgW="377" imgH="377" progId="TCLayout.ActiveDocument.1">
                  <p:embed/>
                  <p:pic>
                    <p:nvPicPr>
                      <p:cNvPr id="20" name="Object 19"/>
                      <p:cNvPicPr/>
                      <p:nvPr/>
                    </p:nvPicPr>
                    <p:blipFill>
                      <a:blip r:embed="rId6"/>
                      <a:stretch>
                        <a:fillRect/>
                      </a:stretch>
                    </p:blipFill>
                    <p:spPr>
                      <a:xfrm>
                        <a:off x="4042" y="2076"/>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Data challenges</a:t>
            </a:r>
          </a:p>
        </p:txBody>
      </p:sp>
      <p:cxnSp>
        <p:nvCxnSpPr>
          <p:cNvPr id="94" name="Straight Connector 93"/>
          <p:cNvCxnSpPr/>
          <p:nvPr/>
        </p:nvCxnSpPr>
        <p:spPr>
          <a:xfrm>
            <a:off x="7034850" y="5904923"/>
            <a:ext cx="896425" cy="0"/>
          </a:xfrm>
          <a:prstGeom prst="line">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5" name="Block Arc 94"/>
          <p:cNvSpPr/>
          <p:nvPr/>
        </p:nvSpPr>
        <p:spPr>
          <a:xfrm rot="1786720">
            <a:off x="4365237" y="3165264"/>
            <a:ext cx="2964474" cy="2964474"/>
          </a:xfrm>
          <a:prstGeom prst="blockArc">
            <a:avLst>
              <a:gd name="adj1" fmla="val 5400000"/>
              <a:gd name="adj2" fmla="val 9000000"/>
              <a:gd name="adj3" fmla="val 4521"/>
            </a:avLst>
          </a:prstGeom>
          <a:solidFill>
            <a:schemeClr val="tx2">
              <a:lumMod val="7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defTabSz="914192"/>
            <a:endParaRPr lang="en-GB" sz="1765" kern="0" dirty="0">
              <a:solidFill>
                <a:srgbClr val="FFFFFF"/>
              </a:solidFill>
            </a:endParaRPr>
          </a:p>
        </p:txBody>
      </p:sp>
      <p:sp>
        <p:nvSpPr>
          <p:cNvPr id="96" name="Block Arc 95"/>
          <p:cNvSpPr/>
          <p:nvPr/>
        </p:nvSpPr>
        <p:spPr>
          <a:xfrm rot="1786720">
            <a:off x="4365237" y="3165264"/>
            <a:ext cx="2964474" cy="2964474"/>
          </a:xfrm>
          <a:prstGeom prst="blockArc">
            <a:avLst>
              <a:gd name="adj1" fmla="val 1800000"/>
              <a:gd name="adj2" fmla="val 5400000"/>
              <a:gd name="adj3" fmla="val 4521"/>
            </a:avLst>
          </a:prstGeom>
          <a:solidFill>
            <a:schemeClr val="tx2">
              <a:lumMod val="7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defTabSz="914192"/>
            <a:endParaRPr lang="en-GB" sz="1765" kern="0" dirty="0">
              <a:solidFill>
                <a:srgbClr val="FFFFFF"/>
              </a:solidFill>
            </a:endParaRPr>
          </a:p>
        </p:txBody>
      </p:sp>
      <p:sp>
        <p:nvSpPr>
          <p:cNvPr id="97" name="Block Arc 96"/>
          <p:cNvSpPr/>
          <p:nvPr/>
        </p:nvSpPr>
        <p:spPr>
          <a:xfrm rot="1786720">
            <a:off x="4365237" y="3165264"/>
            <a:ext cx="2964474" cy="2964474"/>
          </a:xfrm>
          <a:prstGeom prst="blockArc">
            <a:avLst>
              <a:gd name="adj1" fmla="val 19800000"/>
              <a:gd name="adj2" fmla="val 1800000"/>
              <a:gd name="adj3" fmla="val 4521"/>
            </a:avLst>
          </a:prstGeom>
          <a:solidFill>
            <a:schemeClr val="tx2">
              <a:lumMod val="7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defTabSz="914192"/>
            <a:endParaRPr lang="en-GB" sz="1765" kern="0" dirty="0">
              <a:solidFill>
                <a:srgbClr val="FFFFFF"/>
              </a:solidFill>
            </a:endParaRPr>
          </a:p>
        </p:txBody>
      </p:sp>
      <p:cxnSp>
        <p:nvCxnSpPr>
          <p:cNvPr id="98" name="Straight Connector 97"/>
          <p:cNvCxnSpPr/>
          <p:nvPr/>
        </p:nvCxnSpPr>
        <p:spPr>
          <a:xfrm>
            <a:off x="3020761" y="4699077"/>
            <a:ext cx="896425" cy="0"/>
          </a:xfrm>
          <a:prstGeom prst="line">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7777379" y="4699077"/>
            <a:ext cx="896425" cy="0"/>
          </a:xfrm>
          <a:prstGeom prst="line">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0" name="Oval 99"/>
          <p:cNvSpPr/>
          <p:nvPr/>
        </p:nvSpPr>
        <p:spPr bwMode="auto">
          <a:xfrm>
            <a:off x="2942271" y="4649918"/>
            <a:ext cx="98321" cy="98321"/>
          </a:xfrm>
          <a:prstGeom prst="ellipse">
            <a:avLst/>
          </a:prstGeom>
          <a:solidFill>
            <a:schemeClr val="tx2">
              <a:lumMod val="75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02" name="Oval 101"/>
          <p:cNvSpPr/>
          <p:nvPr/>
        </p:nvSpPr>
        <p:spPr bwMode="auto">
          <a:xfrm>
            <a:off x="8663472" y="4649918"/>
            <a:ext cx="98321" cy="98321"/>
          </a:xfrm>
          <a:prstGeom prst="ellipse">
            <a:avLst/>
          </a:prstGeom>
          <a:solidFill>
            <a:schemeClr val="tx2">
              <a:lumMod val="75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kern="0" dirty="0">
              <a:gradFill>
                <a:gsLst>
                  <a:gs pos="0">
                    <a:srgbClr val="FFFFFF"/>
                  </a:gs>
                  <a:gs pos="100000">
                    <a:srgbClr val="FFFFFF"/>
                  </a:gs>
                </a:gsLst>
                <a:lin ang="5400000" scaled="0"/>
              </a:gradFill>
            </a:endParaRPr>
          </a:p>
        </p:txBody>
      </p:sp>
      <p:cxnSp>
        <p:nvCxnSpPr>
          <p:cNvPr id="104" name="Straight Connector 103"/>
          <p:cNvCxnSpPr/>
          <p:nvPr/>
        </p:nvCxnSpPr>
        <p:spPr>
          <a:xfrm>
            <a:off x="4909254" y="4699077"/>
            <a:ext cx="327738" cy="0"/>
          </a:xfrm>
          <a:prstGeom prst="line">
            <a:avLst/>
          </a:prstGeom>
          <a:ln w="2540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462966" y="4699077"/>
            <a:ext cx="327738" cy="0"/>
          </a:xfrm>
          <a:prstGeom prst="line">
            <a:avLst/>
          </a:prstGeom>
          <a:ln w="2540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flipV="1">
            <a:off x="5357915" y="5228907"/>
            <a:ext cx="149207" cy="204836"/>
          </a:xfrm>
          <a:prstGeom prst="straightConnector1">
            <a:avLst/>
          </a:prstGeom>
          <a:ln w="2540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6281123" y="5194767"/>
            <a:ext cx="172063" cy="213029"/>
          </a:xfrm>
          <a:prstGeom prst="straightConnector1">
            <a:avLst/>
          </a:prstGeom>
          <a:ln w="2540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3933357" y="4233678"/>
            <a:ext cx="930800" cy="930801"/>
            <a:chOff x="4507529" y="4131473"/>
            <a:chExt cx="949464" cy="949465"/>
          </a:xfrm>
        </p:grpSpPr>
        <p:sp>
          <p:nvSpPr>
            <p:cNvPr id="123" name="Freeform 122"/>
            <p:cNvSpPr/>
            <p:nvPr/>
          </p:nvSpPr>
          <p:spPr>
            <a:xfrm rot="1786720">
              <a:off x="4507529" y="4131473"/>
              <a:ext cx="949464" cy="949465"/>
            </a:xfrm>
            <a:custGeom>
              <a:avLst/>
              <a:gdLst>
                <a:gd name="connsiteX0" fmla="*/ 0 w 1343236"/>
                <a:gd name="connsiteY0" fmla="*/ 671618 h 1343236"/>
                <a:gd name="connsiteX1" fmla="*/ 671618 w 1343236"/>
                <a:gd name="connsiteY1" fmla="*/ 0 h 1343236"/>
                <a:gd name="connsiteX2" fmla="*/ 1343236 w 1343236"/>
                <a:gd name="connsiteY2" fmla="*/ 671618 h 1343236"/>
                <a:gd name="connsiteX3" fmla="*/ 671618 w 1343236"/>
                <a:gd name="connsiteY3" fmla="*/ 1343236 h 1343236"/>
                <a:gd name="connsiteX4" fmla="*/ 0 w 1343236"/>
                <a:gd name="connsiteY4" fmla="*/ 671618 h 134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36" h="1343236">
                  <a:moveTo>
                    <a:pt x="0" y="671618"/>
                  </a:moveTo>
                  <a:cubicBezTo>
                    <a:pt x="0" y="300694"/>
                    <a:pt x="300694" y="0"/>
                    <a:pt x="671618" y="0"/>
                  </a:cubicBezTo>
                  <a:cubicBezTo>
                    <a:pt x="1042542" y="0"/>
                    <a:pt x="1343236" y="300694"/>
                    <a:pt x="1343236" y="671618"/>
                  </a:cubicBezTo>
                  <a:cubicBezTo>
                    <a:pt x="1343236" y="1042542"/>
                    <a:pt x="1042542" y="1343236"/>
                    <a:pt x="671618" y="1343236"/>
                  </a:cubicBezTo>
                  <a:cubicBezTo>
                    <a:pt x="300694" y="1343236"/>
                    <a:pt x="0" y="1042542"/>
                    <a:pt x="0" y="671618"/>
                  </a:cubicBezTo>
                  <a:close/>
                </a:path>
              </a:pathLst>
            </a:custGeom>
            <a:solidFill>
              <a:schemeClr val="tx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defTabSz="895575" fontAlgn="base">
                <a:spcBef>
                  <a:spcPct val="0"/>
                </a:spcBef>
                <a:spcAft>
                  <a:spcPct val="0"/>
                </a:spcAft>
              </a:pPr>
              <a:endParaRPr lang="en-US" sz="1765" kern="0" spc="-49" dirty="0">
                <a:solidFill>
                  <a:prstClr val="white"/>
                </a:solidFill>
                <a:ea typeface="Segoe UI" pitchFamily="34" charset="0"/>
                <a:cs typeface="Segoe UI" pitchFamily="34" charset="0"/>
              </a:endParaRPr>
            </a:p>
          </p:txBody>
        </p:sp>
        <p:sp>
          <p:nvSpPr>
            <p:cNvPr id="124" name="Freeform 83"/>
            <p:cNvSpPr>
              <a:spLocks noEditPoints="1"/>
            </p:cNvSpPr>
            <p:nvPr/>
          </p:nvSpPr>
          <p:spPr bwMode="black">
            <a:xfrm>
              <a:off x="4726230" y="4335934"/>
              <a:ext cx="512062" cy="54054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accent1"/>
            </a:solidFill>
            <a:ln>
              <a:noFill/>
              <a:headEnd type="none" w="med" len="med"/>
              <a:tailEnd type="none" w="med" len="med"/>
            </a:ln>
            <a:effectLst/>
          </p:spPr>
          <p:txBody>
            <a:bodyPr vert="horz" wrap="square" lIns="91397" tIns="45699" rIns="91397" bIns="45699" numCol="1" rtlCol="0" anchor="ctr" anchorCtr="0" compatLnSpc="1">
              <a:prstTxWarp prst="textNoShape">
                <a:avLst/>
              </a:prstTxWarp>
            </a:bodyPr>
            <a:lstStyle/>
            <a:p>
              <a:pPr algn="ctr" defTabSz="913573"/>
              <a:endParaRPr lang="en-US" sz="2353" kern="0" dirty="0">
                <a:gradFill>
                  <a:gsLst>
                    <a:gs pos="0">
                      <a:srgbClr val="FFFFFF"/>
                    </a:gs>
                    <a:gs pos="100000">
                      <a:srgbClr val="FFFFFF"/>
                    </a:gs>
                  </a:gsLst>
                  <a:lin ang="5400000" scaled="0"/>
                </a:gradFill>
                <a:ea typeface="MS PGothic" charset="0"/>
              </a:endParaRPr>
            </a:p>
          </p:txBody>
        </p:sp>
      </p:grpSp>
      <p:grpSp>
        <p:nvGrpSpPr>
          <p:cNvPr id="125" name="Group 124"/>
          <p:cNvGrpSpPr/>
          <p:nvPr/>
        </p:nvGrpSpPr>
        <p:grpSpPr>
          <a:xfrm>
            <a:off x="4662562" y="5439523"/>
            <a:ext cx="930800" cy="930802"/>
            <a:chOff x="5251356" y="5408399"/>
            <a:chExt cx="949464" cy="949467"/>
          </a:xfrm>
        </p:grpSpPr>
        <p:sp>
          <p:nvSpPr>
            <p:cNvPr id="126" name="Freeform 125"/>
            <p:cNvSpPr/>
            <p:nvPr/>
          </p:nvSpPr>
          <p:spPr>
            <a:xfrm rot="1786720">
              <a:off x="5251356" y="5408399"/>
              <a:ext cx="949464" cy="949467"/>
            </a:xfrm>
            <a:custGeom>
              <a:avLst/>
              <a:gdLst>
                <a:gd name="connsiteX0" fmla="*/ 0 w 1343236"/>
                <a:gd name="connsiteY0" fmla="*/ 671618 h 1343236"/>
                <a:gd name="connsiteX1" fmla="*/ 671618 w 1343236"/>
                <a:gd name="connsiteY1" fmla="*/ 0 h 1343236"/>
                <a:gd name="connsiteX2" fmla="*/ 1343236 w 1343236"/>
                <a:gd name="connsiteY2" fmla="*/ 671618 h 1343236"/>
                <a:gd name="connsiteX3" fmla="*/ 671618 w 1343236"/>
                <a:gd name="connsiteY3" fmla="*/ 1343236 h 1343236"/>
                <a:gd name="connsiteX4" fmla="*/ 0 w 1343236"/>
                <a:gd name="connsiteY4" fmla="*/ 671618 h 134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36" h="1343236">
                  <a:moveTo>
                    <a:pt x="0" y="671618"/>
                  </a:moveTo>
                  <a:cubicBezTo>
                    <a:pt x="0" y="300694"/>
                    <a:pt x="300694" y="0"/>
                    <a:pt x="671618" y="0"/>
                  </a:cubicBezTo>
                  <a:cubicBezTo>
                    <a:pt x="1042542" y="0"/>
                    <a:pt x="1343236" y="300694"/>
                    <a:pt x="1343236" y="671618"/>
                  </a:cubicBezTo>
                  <a:cubicBezTo>
                    <a:pt x="1343236" y="1042542"/>
                    <a:pt x="1042542" y="1343236"/>
                    <a:pt x="671618" y="1343236"/>
                  </a:cubicBezTo>
                  <a:cubicBezTo>
                    <a:pt x="300694" y="1343236"/>
                    <a:pt x="0" y="1042542"/>
                    <a:pt x="0" y="671618"/>
                  </a:cubicBezTo>
                  <a:close/>
                </a:path>
              </a:pathLst>
            </a:custGeom>
            <a:solidFill>
              <a:schemeClr val="tx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defTabSz="895575" fontAlgn="base">
                <a:spcBef>
                  <a:spcPct val="0"/>
                </a:spcBef>
                <a:spcAft>
                  <a:spcPct val="0"/>
                </a:spcAft>
              </a:pPr>
              <a:endParaRPr lang="en-US" sz="1765" kern="0" spc="-49" dirty="0">
                <a:solidFill>
                  <a:prstClr val="white"/>
                </a:solidFill>
                <a:ea typeface="Segoe UI" pitchFamily="34" charset="0"/>
                <a:cs typeface="Segoe UI" pitchFamily="34" charset="0"/>
              </a:endParaRPr>
            </a:p>
          </p:txBody>
        </p:sp>
        <p:sp>
          <p:nvSpPr>
            <p:cNvPr id="127" name="Freeform 84"/>
            <p:cNvSpPr>
              <a:spLocks noEditPoints="1"/>
            </p:cNvSpPr>
            <p:nvPr/>
          </p:nvSpPr>
          <p:spPr bwMode="black">
            <a:xfrm>
              <a:off x="5518126" y="5634532"/>
              <a:ext cx="415925" cy="497201"/>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headEnd type="none" w="med" len="med"/>
              <a:tailEnd type="none" w="med" len="med"/>
            </a:ln>
            <a:effectLst/>
          </p:spPr>
          <p:txBody>
            <a:bodyPr vert="horz" wrap="square" lIns="91397" tIns="45699" rIns="91397" bIns="45699" numCol="1" rtlCol="0" anchor="ctr" anchorCtr="0" compatLnSpc="1">
              <a:prstTxWarp prst="textNoShape">
                <a:avLst/>
              </a:prstTxWarp>
            </a:bodyPr>
            <a:lstStyle/>
            <a:p>
              <a:pPr algn="ctr" defTabSz="913573"/>
              <a:endParaRPr lang="en-US" sz="2353" kern="0" dirty="0">
                <a:gradFill>
                  <a:gsLst>
                    <a:gs pos="0">
                      <a:srgbClr val="FFFFFF"/>
                    </a:gs>
                    <a:gs pos="100000">
                      <a:srgbClr val="FFFFFF"/>
                    </a:gs>
                  </a:gsLst>
                  <a:lin ang="5400000" scaled="0"/>
                </a:gradFill>
                <a:ea typeface="MS PGothic" charset="0"/>
              </a:endParaRPr>
            </a:p>
          </p:txBody>
        </p:sp>
      </p:grpSp>
      <p:grpSp>
        <p:nvGrpSpPr>
          <p:cNvPr id="128" name="Group 127"/>
          <p:cNvGrpSpPr/>
          <p:nvPr/>
        </p:nvGrpSpPr>
        <p:grpSpPr>
          <a:xfrm>
            <a:off x="6111280" y="5439523"/>
            <a:ext cx="930800" cy="930801"/>
            <a:chOff x="6729124" y="5408401"/>
            <a:chExt cx="949464" cy="949465"/>
          </a:xfrm>
        </p:grpSpPr>
        <p:sp>
          <p:nvSpPr>
            <p:cNvPr id="129" name="Freeform 128"/>
            <p:cNvSpPr/>
            <p:nvPr/>
          </p:nvSpPr>
          <p:spPr>
            <a:xfrm rot="1786720">
              <a:off x="6729124" y="5408401"/>
              <a:ext cx="949464" cy="949465"/>
            </a:xfrm>
            <a:custGeom>
              <a:avLst/>
              <a:gdLst>
                <a:gd name="connsiteX0" fmla="*/ 0 w 1343236"/>
                <a:gd name="connsiteY0" fmla="*/ 671618 h 1343236"/>
                <a:gd name="connsiteX1" fmla="*/ 671618 w 1343236"/>
                <a:gd name="connsiteY1" fmla="*/ 0 h 1343236"/>
                <a:gd name="connsiteX2" fmla="*/ 1343236 w 1343236"/>
                <a:gd name="connsiteY2" fmla="*/ 671618 h 1343236"/>
                <a:gd name="connsiteX3" fmla="*/ 671618 w 1343236"/>
                <a:gd name="connsiteY3" fmla="*/ 1343236 h 1343236"/>
                <a:gd name="connsiteX4" fmla="*/ 0 w 1343236"/>
                <a:gd name="connsiteY4" fmla="*/ 671618 h 134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36" h="1343236">
                  <a:moveTo>
                    <a:pt x="0" y="671618"/>
                  </a:moveTo>
                  <a:cubicBezTo>
                    <a:pt x="0" y="300694"/>
                    <a:pt x="300694" y="0"/>
                    <a:pt x="671618" y="0"/>
                  </a:cubicBezTo>
                  <a:cubicBezTo>
                    <a:pt x="1042542" y="0"/>
                    <a:pt x="1343236" y="300694"/>
                    <a:pt x="1343236" y="671618"/>
                  </a:cubicBezTo>
                  <a:cubicBezTo>
                    <a:pt x="1343236" y="1042542"/>
                    <a:pt x="1042542" y="1343236"/>
                    <a:pt x="671618" y="1343236"/>
                  </a:cubicBezTo>
                  <a:cubicBezTo>
                    <a:pt x="300694" y="1343236"/>
                    <a:pt x="0" y="1042542"/>
                    <a:pt x="0" y="671618"/>
                  </a:cubicBezTo>
                  <a:close/>
                </a:path>
              </a:pathLst>
            </a:custGeom>
            <a:solidFill>
              <a:schemeClr val="tx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defTabSz="895575" fontAlgn="base">
                <a:spcBef>
                  <a:spcPct val="0"/>
                </a:spcBef>
                <a:spcAft>
                  <a:spcPct val="0"/>
                </a:spcAft>
              </a:pPr>
              <a:endParaRPr lang="en-US" sz="1765" kern="0" spc="-49" dirty="0">
                <a:solidFill>
                  <a:prstClr val="white"/>
                </a:solidFill>
                <a:ea typeface="Segoe UI" pitchFamily="34" charset="0"/>
                <a:cs typeface="Segoe UI" pitchFamily="34" charset="0"/>
              </a:endParaRPr>
            </a:p>
          </p:txBody>
        </p:sp>
        <p:sp>
          <p:nvSpPr>
            <p:cNvPr id="130" name="Donut 80"/>
            <p:cNvSpPr/>
            <p:nvPr/>
          </p:nvSpPr>
          <p:spPr bwMode="auto">
            <a:xfrm>
              <a:off x="6908161" y="5647119"/>
              <a:ext cx="591390" cy="472029"/>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accent1"/>
            </a:solidFill>
            <a:ln>
              <a:noFill/>
              <a:headEnd type="none" w="med" len="med"/>
              <a:tailEnd type="none" w="med" len="med"/>
            </a:ln>
            <a:effectLst/>
          </p:spPr>
          <p:txBody>
            <a:bodyPr vert="horz" wrap="square" lIns="91397" tIns="45699" rIns="91397" bIns="45699" numCol="1" rtlCol="0" anchor="ctr" anchorCtr="0" compatLnSpc="1">
              <a:prstTxWarp prst="textNoShape">
                <a:avLst/>
              </a:prstTxWarp>
            </a:bodyPr>
            <a:lstStyle/>
            <a:p>
              <a:pPr algn="ctr" defTabSz="913573"/>
              <a:endParaRPr lang="en-US" sz="2353" kern="0" dirty="0">
                <a:gradFill>
                  <a:gsLst>
                    <a:gs pos="0">
                      <a:srgbClr val="FFFFFF"/>
                    </a:gs>
                    <a:gs pos="100000">
                      <a:srgbClr val="FFFFFF"/>
                    </a:gs>
                  </a:gsLst>
                  <a:lin ang="5400000" scaled="0"/>
                </a:gradFill>
                <a:ea typeface="MS PGothic" charset="0"/>
              </a:endParaRPr>
            </a:p>
          </p:txBody>
        </p:sp>
      </p:grpSp>
      <p:grpSp>
        <p:nvGrpSpPr>
          <p:cNvPr id="131" name="Group 130"/>
          <p:cNvGrpSpPr/>
          <p:nvPr/>
        </p:nvGrpSpPr>
        <p:grpSpPr>
          <a:xfrm>
            <a:off x="6830790" y="4233678"/>
            <a:ext cx="930799" cy="930801"/>
            <a:chOff x="7463061" y="4131473"/>
            <a:chExt cx="949463" cy="949465"/>
          </a:xfrm>
        </p:grpSpPr>
        <p:sp>
          <p:nvSpPr>
            <p:cNvPr id="132" name="Freeform 131"/>
            <p:cNvSpPr/>
            <p:nvPr/>
          </p:nvSpPr>
          <p:spPr>
            <a:xfrm rot="1786720">
              <a:off x="7463061" y="4131473"/>
              <a:ext cx="949463" cy="949465"/>
            </a:xfrm>
            <a:custGeom>
              <a:avLst/>
              <a:gdLst>
                <a:gd name="connsiteX0" fmla="*/ 0 w 1343236"/>
                <a:gd name="connsiteY0" fmla="*/ 671618 h 1343236"/>
                <a:gd name="connsiteX1" fmla="*/ 671618 w 1343236"/>
                <a:gd name="connsiteY1" fmla="*/ 0 h 1343236"/>
                <a:gd name="connsiteX2" fmla="*/ 1343236 w 1343236"/>
                <a:gd name="connsiteY2" fmla="*/ 671618 h 1343236"/>
                <a:gd name="connsiteX3" fmla="*/ 671618 w 1343236"/>
                <a:gd name="connsiteY3" fmla="*/ 1343236 h 1343236"/>
                <a:gd name="connsiteX4" fmla="*/ 0 w 1343236"/>
                <a:gd name="connsiteY4" fmla="*/ 671618 h 134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36" h="1343236">
                  <a:moveTo>
                    <a:pt x="0" y="671618"/>
                  </a:moveTo>
                  <a:cubicBezTo>
                    <a:pt x="0" y="300694"/>
                    <a:pt x="300694" y="0"/>
                    <a:pt x="671618" y="0"/>
                  </a:cubicBezTo>
                  <a:cubicBezTo>
                    <a:pt x="1042542" y="0"/>
                    <a:pt x="1343236" y="300694"/>
                    <a:pt x="1343236" y="671618"/>
                  </a:cubicBezTo>
                  <a:cubicBezTo>
                    <a:pt x="1343236" y="1042542"/>
                    <a:pt x="1042542" y="1343236"/>
                    <a:pt x="671618" y="1343236"/>
                  </a:cubicBezTo>
                  <a:cubicBezTo>
                    <a:pt x="300694" y="1343236"/>
                    <a:pt x="0" y="1042542"/>
                    <a:pt x="0" y="671618"/>
                  </a:cubicBezTo>
                  <a:close/>
                </a:path>
              </a:pathLst>
            </a:custGeom>
            <a:solidFill>
              <a:schemeClr val="tx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defTabSz="895575" fontAlgn="base">
                <a:spcBef>
                  <a:spcPct val="0"/>
                </a:spcBef>
                <a:spcAft>
                  <a:spcPct val="0"/>
                </a:spcAft>
              </a:pPr>
              <a:endParaRPr lang="en-US" sz="1765" kern="0" spc="-49" dirty="0">
                <a:solidFill>
                  <a:prstClr val="white"/>
                </a:solidFill>
                <a:ea typeface="Segoe UI" pitchFamily="34" charset="0"/>
                <a:cs typeface="Segoe UI" pitchFamily="34" charset="0"/>
              </a:endParaRPr>
            </a:p>
          </p:txBody>
        </p:sp>
        <p:sp>
          <p:nvSpPr>
            <p:cNvPr id="133" name="Freeform 73"/>
            <p:cNvSpPr>
              <a:spLocks noEditPoints="1"/>
            </p:cNvSpPr>
            <p:nvPr/>
          </p:nvSpPr>
          <p:spPr bwMode="black">
            <a:xfrm>
              <a:off x="7654497" y="4332722"/>
              <a:ext cx="566591" cy="54696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1"/>
            </a:solidFill>
            <a:ln>
              <a:noFill/>
              <a:headEnd type="none" w="med" len="med"/>
              <a:tailEnd type="none" w="med" len="med"/>
            </a:ln>
            <a:effectLst/>
          </p:spPr>
          <p:txBody>
            <a:bodyPr vert="horz" wrap="square" lIns="91397" tIns="45699" rIns="91397" bIns="45699" numCol="1" rtlCol="0" anchor="ctr" anchorCtr="0" compatLnSpc="1">
              <a:prstTxWarp prst="textNoShape">
                <a:avLst/>
              </a:prstTxWarp>
            </a:bodyPr>
            <a:lstStyle/>
            <a:p>
              <a:pPr algn="ctr" defTabSz="913573"/>
              <a:endParaRPr lang="en-US" sz="2353" kern="0" dirty="0">
                <a:gradFill>
                  <a:gsLst>
                    <a:gs pos="0">
                      <a:srgbClr val="FFFFFF"/>
                    </a:gs>
                    <a:gs pos="100000">
                      <a:srgbClr val="FFFFFF"/>
                    </a:gs>
                  </a:gsLst>
                  <a:lin ang="5400000" scaled="0"/>
                </a:gradFill>
                <a:ea typeface="MS PGothic" charset="0"/>
              </a:endParaRPr>
            </a:p>
          </p:txBody>
        </p:sp>
      </p:grpSp>
      <p:sp>
        <p:nvSpPr>
          <p:cNvPr id="134" name="TextBox 133"/>
          <p:cNvSpPr txBox="1"/>
          <p:nvPr/>
        </p:nvSpPr>
        <p:spPr>
          <a:xfrm>
            <a:off x="1264189" y="5624465"/>
            <a:ext cx="2423456" cy="416361"/>
          </a:xfrm>
          <a:prstGeom prst="rect">
            <a:avLst/>
          </a:prstGeom>
          <a:noFill/>
        </p:spPr>
        <p:txBody>
          <a:bodyPr wrap="square" lIns="179259" tIns="143407" rIns="179259" bIns="0" rtlCol="0">
            <a:spAutoFit/>
          </a:bodyPr>
          <a:lstStyle/>
          <a:p>
            <a:pPr defTabSz="913330" fontAlgn="base">
              <a:lnSpc>
                <a:spcPct val="90000"/>
              </a:lnSpc>
              <a:spcBef>
                <a:spcPct val="0"/>
              </a:spcBef>
              <a:spcAft>
                <a:spcPts val="588"/>
              </a:spcAft>
            </a:pPr>
            <a:r>
              <a:rPr lang="en-US" sz="1961" kern="0" dirty="0">
                <a:gradFill>
                  <a:gsLst>
                    <a:gs pos="2917">
                      <a:schemeClr val="tx1"/>
                    </a:gs>
                    <a:gs pos="95000">
                      <a:schemeClr val="tx1"/>
                    </a:gs>
                  </a:gsLst>
                  <a:lin ang="5400000" scaled="0"/>
                </a:gradFill>
                <a:latin typeface="Segoe UI Semibold" panose="020B0702040204020203" pitchFamily="34" charset="0"/>
                <a:ea typeface="MS PGothic" charset="0"/>
                <a:cs typeface="Segoe UI Semibold" panose="020B0702040204020203" pitchFamily="34" charset="0"/>
              </a:rPr>
              <a:t>VOLUME, IT’S BIG</a:t>
            </a:r>
          </a:p>
        </p:txBody>
      </p:sp>
      <p:sp>
        <p:nvSpPr>
          <p:cNvPr id="135" name="TextBox 134"/>
          <p:cNvSpPr txBox="1"/>
          <p:nvPr/>
        </p:nvSpPr>
        <p:spPr>
          <a:xfrm>
            <a:off x="7931275" y="5624465"/>
            <a:ext cx="3641626" cy="416361"/>
          </a:xfrm>
          <a:prstGeom prst="rect">
            <a:avLst/>
          </a:prstGeom>
          <a:noFill/>
        </p:spPr>
        <p:txBody>
          <a:bodyPr wrap="square" lIns="179259" tIns="143407" rIns="179259" bIns="0" rtlCol="0">
            <a:spAutoFit/>
          </a:bodyPr>
          <a:lstStyle/>
          <a:p>
            <a:pPr defTabSz="913330" fontAlgn="base">
              <a:lnSpc>
                <a:spcPct val="90000"/>
              </a:lnSpc>
              <a:spcBef>
                <a:spcPct val="0"/>
              </a:spcBef>
              <a:spcAft>
                <a:spcPts val="588"/>
              </a:spcAft>
            </a:pPr>
            <a:r>
              <a:rPr lang="en-US" sz="1961" kern="0" dirty="0">
                <a:gradFill>
                  <a:gsLst>
                    <a:gs pos="2917">
                      <a:schemeClr val="tx1"/>
                    </a:gs>
                    <a:gs pos="95000">
                      <a:schemeClr val="tx1"/>
                    </a:gs>
                  </a:gsLst>
                  <a:lin ang="5400000" scaled="0"/>
                </a:gradFill>
                <a:latin typeface="Segoe UI Semibold" panose="020B0702040204020203" pitchFamily="34" charset="0"/>
                <a:ea typeface="MS PGothic" charset="0"/>
                <a:cs typeface="Segoe UI Semibold" panose="020B0702040204020203" pitchFamily="34" charset="0"/>
              </a:rPr>
              <a:t>VERACITY, IT’S UNVERIFIED</a:t>
            </a:r>
          </a:p>
        </p:txBody>
      </p:sp>
      <p:sp>
        <p:nvSpPr>
          <p:cNvPr id="136" name="TextBox 135"/>
          <p:cNvSpPr txBox="1"/>
          <p:nvPr/>
        </p:nvSpPr>
        <p:spPr>
          <a:xfrm>
            <a:off x="8673804" y="4440293"/>
            <a:ext cx="3836824" cy="416361"/>
          </a:xfrm>
          <a:prstGeom prst="rect">
            <a:avLst/>
          </a:prstGeom>
          <a:noFill/>
        </p:spPr>
        <p:txBody>
          <a:bodyPr wrap="square" lIns="179259" tIns="143407" rIns="179259" bIns="0" rtlCol="0">
            <a:spAutoFit/>
          </a:bodyPr>
          <a:lstStyle/>
          <a:p>
            <a:pPr defTabSz="913330" fontAlgn="base">
              <a:lnSpc>
                <a:spcPct val="90000"/>
              </a:lnSpc>
              <a:spcBef>
                <a:spcPct val="0"/>
              </a:spcBef>
              <a:spcAft>
                <a:spcPts val="588"/>
              </a:spcAft>
            </a:pPr>
            <a:r>
              <a:rPr lang="en-US" sz="1961" kern="0" dirty="0">
                <a:gradFill>
                  <a:gsLst>
                    <a:gs pos="2917">
                      <a:schemeClr val="tx1"/>
                    </a:gs>
                    <a:gs pos="95000">
                      <a:schemeClr val="tx1"/>
                    </a:gs>
                  </a:gsLst>
                  <a:lin ang="5400000" scaled="0"/>
                </a:gradFill>
                <a:latin typeface="Segoe UI Semibold" panose="020B0702040204020203" pitchFamily="34" charset="0"/>
                <a:ea typeface="MS PGothic" charset="0"/>
                <a:cs typeface="Segoe UI Semibold" panose="020B0702040204020203" pitchFamily="34" charset="0"/>
              </a:rPr>
              <a:t>VARIETY, IT’S DIFFERENT</a:t>
            </a:r>
          </a:p>
        </p:txBody>
      </p:sp>
      <p:sp>
        <p:nvSpPr>
          <p:cNvPr id="137" name="TextBox 136"/>
          <p:cNvSpPr txBox="1"/>
          <p:nvPr/>
        </p:nvSpPr>
        <p:spPr>
          <a:xfrm>
            <a:off x="398924" y="4440293"/>
            <a:ext cx="2609300" cy="687905"/>
          </a:xfrm>
          <a:prstGeom prst="rect">
            <a:avLst/>
          </a:prstGeom>
          <a:noFill/>
        </p:spPr>
        <p:txBody>
          <a:bodyPr wrap="square" lIns="179259" tIns="143407" rIns="179259" bIns="0" rtlCol="0">
            <a:spAutoFit/>
          </a:bodyPr>
          <a:lstStyle/>
          <a:p>
            <a:pPr defTabSz="913330" fontAlgn="base">
              <a:lnSpc>
                <a:spcPct val="90000"/>
              </a:lnSpc>
              <a:spcBef>
                <a:spcPct val="0"/>
              </a:spcBef>
              <a:spcAft>
                <a:spcPts val="588"/>
              </a:spcAft>
            </a:pPr>
            <a:r>
              <a:rPr lang="en-US" sz="1961" kern="0" dirty="0">
                <a:gradFill>
                  <a:gsLst>
                    <a:gs pos="2917">
                      <a:schemeClr val="tx1"/>
                    </a:gs>
                    <a:gs pos="95000">
                      <a:schemeClr val="tx1"/>
                    </a:gs>
                  </a:gsLst>
                  <a:lin ang="5400000" scaled="0"/>
                </a:gradFill>
                <a:latin typeface="Segoe UI Semibold" panose="020B0702040204020203" pitchFamily="34" charset="0"/>
                <a:ea typeface="MS PGothic" charset="0"/>
                <a:cs typeface="Segoe UI Semibold" panose="020B0702040204020203" pitchFamily="34" charset="0"/>
              </a:rPr>
              <a:t>VELOCITY, IT’S FAST</a:t>
            </a:r>
          </a:p>
        </p:txBody>
      </p:sp>
      <p:sp>
        <p:nvSpPr>
          <p:cNvPr id="138" name="Oval 137"/>
          <p:cNvSpPr/>
          <p:nvPr/>
        </p:nvSpPr>
        <p:spPr>
          <a:xfrm>
            <a:off x="5270117" y="4109972"/>
            <a:ext cx="1178213" cy="1178213"/>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330" fontAlgn="base">
              <a:spcBef>
                <a:spcPct val="0"/>
              </a:spcBef>
              <a:spcAft>
                <a:spcPct val="0"/>
              </a:spcAft>
            </a:pPr>
            <a:endParaRPr lang="en-IN" sz="2400" kern="0" dirty="0">
              <a:solidFill>
                <a:prstClr val="black"/>
              </a:solidFill>
            </a:endParaRPr>
          </a:p>
        </p:txBody>
      </p:sp>
      <p:grpSp>
        <p:nvGrpSpPr>
          <p:cNvPr id="139" name="Group 361"/>
          <p:cNvGrpSpPr>
            <a:grpSpLocks noChangeAspect="1"/>
          </p:cNvGrpSpPr>
          <p:nvPr/>
        </p:nvGrpSpPr>
        <p:grpSpPr bwMode="auto">
          <a:xfrm>
            <a:off x="5205107" y="1307773"/>
            <a:ext cx="1345492" cy="3842451"/>
            <a:chOff x="378" y="1801"/>
            <a:chExt cx="742" cy="2119"/>
          </a:xfrm>
        </p:grpSpPr>
        <p:sp>
          <p:nvSpPr>
            <p:cNvPr id="140" name="AutoShape 360"/>
            <p:cNvSpPr>
              <a:spLocks noChangeAspect="1" noChangeArrowheads="1" noTextEdit="1"/>
            </p:cNvSpPr>
            <p:nvPr/>
          </p:nvSpPr>
          <p:spPr bwMode="auto">
            <a:xfrm>
              <a:off x="378" y="1801"/>
              <a:ext cx="742" cy="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1" name="Rectangle 362"/>
            <p:cNvSpPr>
              <a:spLocks noChangeArrowheads="1"/>
            </p:cNvSpPr>
            <p:nvPr/>
          </p:nvSpPr>
          <p:spPr bwMode="auto">
            <a:xfrm>
              <a:off x="853" y="2040"/>
              <a:ext cx="225" cy="20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2" name="Rectangle 363"/>
            <p:cNvSpPr>
              <a:spLocks noChangeArrowheads="1"/>
            </p:cNvSpPr>
            <p:nvPr/>
          </p:nvSpPr>
          <p:spPr bwMode="auto">
            <a:xfrm>
              <a:off x="380" y="2242"/>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3" name="Rectangle 364"/>
            <p:cNvSpPr>
              <a:spLocks noChangeArrowheads="1"/>
            </p:cNvSpPr>
            <p:nvPr/>
          </p:nvSpPr>
          <p:spPr bwMode="auto">
            <a:xfrm>
              <a:off x="422" y="2276"/>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4" name="Rectangle 365"/>
            <p:cNvSpPr>
              <a:spLocks noChangeArrowheads="1"/>
            </p:cNvSpPr>
            <p:nvPr/>
          </p:nvSpPr>
          <p:spPr bwMode="auto">
            <a:xfrm>
              <a:off x="380" y="2605"/>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5" name="Rectangle 366"/>
            <p:cNvSpPr>
              <a:spLocks noChangeArrowheads="1"/>
            </p:cNvSpPr>
            <p:nvPr/>
          </p:nvSpPr>
          <p:spPr bwMode="auto">
            <a:xfrm>
              <a:off x="422" y="2637"/>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6" name="Rectangle 367"/>
            <p:cNvSpPr>
              <a:spLocks noChangeArrowheads="1"/>
            </p:cNvSpPr>
            <p:nvPr/>
          </p:nvSpPr>
          <p:spPr bwMode="auto">
            <a:xfrm>
              <a:off x="502" y="2968"/>
              <a:ext cx="496" cy="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7" name="Rectangle 368"/>
            <p:cNvSpPr>
              <a:spLocks noChangeArrowheads="1"/>
            </p:cNvSpPr>
            <p:nvPr/>
          </p:nvSpPr>
          <p:spPr bwMode="auto">
            <a:xfrm>
              <a:off x="544" y="3000"/>
              <a:ext cx="413" cy="5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8" name="Rectangle 369"/>
            <p:cNvSpPr>
              <a:spLocks noChangeArrowheads="1"/>
            </p:cNvSpPr>
            <p:nvPr/>
          </p:nvSpPr>
          <p:spPr bwMode="auto">
            <a:xfrm>
              <a:off x="594" y="2312"/>
              <a:ext cx="484" cy="2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49" name="Freeform 370"/>
            <p:cNvSpPr>
              <a:spLocks/>
            </p:cNvSpPr>
            <p:nvPr/>
          </p:nvSpPr>
          <p:spPr bwMode="auto">
            <a:xfrm>
              <a:off x="594" y="2673"/>
              <a:ext cx="484" cy="29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0" name="Rectangle 371"/>
            <p:cNvSpPr>
              <a:spLocks noChangeArrowheads="1"/>
            </p:cNvSpPr>
            <p:nvPr/>
          </p:nvSpPr>
          <p:spPr bwMode="auto">
            <a:xfrm>
              <a:off x="422" y="2312"/>
              <a:ext cx="172" cy="2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1" name="Rectangle 372"/>
            <p:cNvSpPr>
              <a:spLocks noChangeArrowheads="1"/>
            </p:cNvSpPr>
            <p:nvPr/>
          </p:nvSpPr>
          <p:spPr bwMode="auto">
            <a:xfrm>
              <a:off x="651" y="2424"/>
              <a:ext cx="172" cy="7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2" name="Freeform 373"/>
            <p:cNvSpPr>
              <a:spLocks/>
            </p:cNvSpPr>
            <p:nvPr/>
          </p:nvSpPr>
          <p:spPr bwMode="auto">
            <a:xfrm>
              <a:off x="422" y="2673"/>
              <a:ext cx="172" cy="29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3" name="Freeform 374"/>
            <p:cNvSpPr>
              <a:spLocks/>
            </p:cNvSpPr>
            <p:nvPr/>
          </p:nvSpPr>
          <p:spPr bwMode="auto">
            <a:xfrm>
              <a:off x="578" y="3096"/>
              <a:ext cx="35"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4" name="Freeform 375"/>
            <p:cNvSpPr>
              <a:spLocks noEditPoints="1"/>
            </p:cNvSpPr>
            <p:nvPr/>
          </p:nvSpPr>
          <p:spPr bwMode="auto">
            <a:xfrm>
              <a:off x="645" y="3096"/>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5" name="Freeform 376"/>
            <p:cNvSpPr>
              <a:spLocks/>
            </p:cNvSpPr>
            <p:nvPr/>
          </p:nvSpPr>
          <p:spPr bwMode="auto">
            <a:xfrm>
              <a:off x="725" y="3096"/>
              <a:ext cx="36"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6" name="Freeform 377"/>
            <p:cNvSpPr>
              <a:spLocks noEditPoints="1"/>
            </p:cNvSpPr>
            <p:nvPr/>
          </p:nvSpPr>
          <p:spPr bwMode="auto">
            <a:xfrm>
              <a:off x="568" y="3220"/>
              <a:ext cx="63" cy="8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7" name="Freeform 378"/>
            <p:cNvSpPr>
              <a:spLocks/>
            </p:cNvSpPr>
            <p:nvPr/>
          </p:nvSpPr>
          <p:spPr bwMode="auto">
            <a:xfrm>
              <a:off x="653" y="3220"/>
              <a:ext cx="38" cy="8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8" name="Freeform 379"/>
            <p:cNvSpPr>
              <a:spLocks noEditPoints="1"/>
            </p:cNvSpPr>
            <p:nvPr/>
          </p:nvSpPr>
          <p:spPr bwMode="auto">
            <a:xfrm>
              <a:off x="71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59" name="Freeform 380"/>
            <p:cNvSpPr>
              <a:spLocks noEditPoints="1"/>
            </p:cNvSpPr>
            <p:nvPr/>
          </p:nvSpPr>
          <p:spPr bwMode="auto">
            <a:xfrm>
              <a:off x="568" y="3589"/>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0" name="Freeform 381"/>
            <p:cNvSpPr>
              <a:spLocks/>
            </p:cNvSpPr>
            <p:nvPr/>
          </p:nvSpPr>
          <p:spPr bwMode="auto">
            <a:xfrm>
              <a:off x="653" y="3589"/>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1" name="Freeform 382"/>
            <p:cNvSpPr>
              <a:spLocks noEditPoints="1"/>
            </p:cNvSpPr>
            <p:nvPr/>
          </p:nvSpPr>
          <p:spPr bwMode="auto">
            <a:xfrm>
              <a:off x="715" y="3589"/>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2" name="Freeform 383"/>
            <p:cNvSpPr>
              <a:spLocks noEditPoints="1"/>
            </p:cNvSpPr>
            <p:nvPr/>
          </p:nvSpPr>
          <p:spPr bwMode="auto">
            <a:xfrm>
              <a:off x="568" y="3343"/>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3" name="Freeform 384"/>
            <p:cNvSpPr>
              <a:spLocks noEditPoints="1"/>
            </p:cNvSpPr>
            <p:nvPr/>
          </p:nvSpPr>
          <p:spPr bwMode="auto">
            <a:xfrm>
              <a:off x="645" y="3343"/>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4" name="Freeform 385"/>
            <p:cNvSpPr>
              <a:spLocks/>
            </p:cNvSpPr>
            <p:nvPr/>
          </p:nvSpPr>
          <p:spPr bwMode="auto">
            <a:xfrm>
              <a:off x="725" y="3343"/>
              <a:ext cx="36"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5" name="Freeform 386"/>
            <p:cNvSpPr>
              <a:spLocks/>
            </p:cNvSpPr>
            <p:nvPr/>
          </p:nvSpPr>
          <p:spPr bwMode="auto">
            <a:xfrm>
              <a:off x="578" y="3467"/>
              <a:ext cx="35"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66" name="Freeform 387"/>
            <p:cNvSpPr>
              <a:spLocks/>
            </p:cNvSpPr>
            <p:nvPr/>
          </p:nvSpPr>
          <p:spPr bwMode="auto">
            <a:xfrm>
              <a:off x="875" y="3096"/>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170" name="Freeform 388"/>
            <p:cNvSpPr>
              <a:spLocks noEditPoints="1"/>
            </p:cNvSpPr>
            <p:nvPr/>
          </p:nvSpPr>
          <p:spPr bwMode="auto">
            <a:xfrm>
              <a:off x="86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24" name="Freeform 389"/>
            <p:cNvSpPr>
              <a:spLocks noEditPoints="1"/>
            </p:cNvSpPr>
            <p:nvPr/>
          </p:nvSpPr>
          <p:spPr bwMode="auto">
            <a:xfrm>
              <a:off x="865" y="3343"/>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25" name="Freeform 390"/>
            <p:cNvSpPr>
              <a:spLocks/>
            </p:cNvSpPr>
            <p:nvPr/>
          </p:nvSpPr>
          <p:spPr bwMode="auto">
            <a:xfrm>
              <a:off x="875"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26" name="Freeform 391"/>
            <p:cNvSpPr>
              <a:spLocks/>
            </p:cNvSpPr>
            <p:nvPr/>
          </p:nvSpPr>
          <p:spPr bwMode="auto">
            <a:xfrm>
              <a:off x="653"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27" name="Freeform 392"/>
            <p:cNvSpPr>
              <a:spLocks noEditPoints="1"/>
            </p:cNvSpPr>
            <p:nvPr/>
          </p:nvSpPr>
          <p:spPr bwMode="auto">
            <a:xfrm>
              <a:off x="789" y="3096"/>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chemeClr val="bg2">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28" name="Freeform 393"/>
            <p:cNvSpPr>
              <a:spLocks/>
            </p:cNvSpPr>
            <p:nvPr/>
          </p:nvSpPr>
          <p:spPr bwMode="auto">
            <a:xfrm>
              <a:off x="797" y="3220"/>
              <a:ext cx="38" cy="8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29" name="Freeform 394"/>
            <p:cNvSpPr>
              <a:spLocks/>
            </p:cNvSpPr>
            <p:nvPr/>
          </p:nvSpPr>
          <p:spPr bwMode="auto">
            <a:xfrm>
              <a:off x="797" y="3589"/>
              <a:ext cx="38" cy="8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0" name="Freeform 395"/>
            <p:cNvSpPr>
              <a:spLocks noEditPoints="1"/>
            </p:cNvSpPr>
            <p:nvPr/>
          </p:nvSpPr>
          <p:spPr bwMode="auto">
            <a:xfrm>
              <a:off x="789" y="3343"/>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1" name="Freeform 396"/>
            <p:cNvSpPr>
              <a:spLocks noEditPoints="1"/>
            </p:cNvSpPr>
            <p:nvPr/>
          </p:nvSpPr>
          <p:spPr bwMode="auto">
            <a:xfrm>
              <a:off x="568" y="3704"/>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2" name="Freeform 397"/>
            <p:cNvSpPr>
              <a:spLocks/>
            </p:cNvSpPr>
            <p:nvPr/>
          </p:nvSpPr>
          <p:spPr bwMode="auto">
            <a:xfrm>
              <a:off x="653" y="3704"/>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3" name="Freeform 398"/>
            <p:cNvSpPr>
              <a:spLocks noEditPoints="1"/>
            </p:cNvSpPr>
            <p:nvPr/>
          </p:nvSpPr>
          <p:spPr bwMode="auto">
            <a:xfrm>
              <a:off x="715" y="3704"/>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4" name="Freeform 399"/>
            <p:cNvSpPr>
              <a:spLocks noEditPoints="1"/>
            </p:cNvSpPr>
            <p:nvPr/>
          </p:nvSpPr>
          <p:spPr bwMode="auto">
            <a:xfrm>
              <a:off x="568" y="3828"/>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5" name="Freeform 400"/>
            <p:cNvSpPr>
              <a:spLocks noEditPoints="1"/>
            </p:cNvSpPr>
            <p:nvPr/>
          </p:nvSpPr>
          <p:spPr bwMode="auto">
            <a:xfrm>
              <a:off x="645" y="3828"/>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6" name="Freeform 401"/>
            <p:cNvSpPr>
              <a:spLocks/>
            </p:cNvSpPr>
            <p:nvPr/>
          </p:nvSpPr>
          <p:spPr bwMode="auto">
            <a:xfrm>
              <a:off x="797" y="3467"/>
              <a:ext cx="38" cy="88"/>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7" name="Freeform 402"/>
            <p:cNvSpPr>
              <a:spLocks noEditPoints="1"/>
            </p:cNvSpPr>
            <p:nvPr/>
          </p:nvSpPr>
          <p:spPr bwMode="auto">
            <a:xfrm>
              <a:off x="715" y="3467"/>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8" name="Rectangle 403"/>
            <p:cNvSpPr>
              <a:spLocks noChangeArrowheads="1"/>
            </p:cNvSpPr>
            <p:nvPr/>
          </p:nvSpPr>
          <p:spPr bwMode="auto">
            <a:xfrm>
              <a:off x="422" y="1905"/>
              <a:ext cx="174"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39" name="Rectangle 404"/>
            <p:cNvSpPr>
              <a:spLocks noChangeArrowheads="1"/>
            </p:cNvSpPr>
            <p:nvPr/>
          </p:nvSpPr>
          <p:spPr bwMode="auto">
            <a:xfrm>
              <a:off x="765" y="1979"/>
              <a:ext cx="148" cy="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40" name="Rectangle 405"/>
            <p:cNvSpPr>
              <a:spLocks noChangeArrowheads="1"/>
            </p:cNvSpPr>
            <p:nvPr/>
          </p:nvSpPr>
          <p:spPr bwMode="auto">
            <a:xfrm>
              <a:off x="765" y="1849"/>
              <a:ext cx="32" cy="2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41" name="Rectangle 406"/>
            <p:cNvSpPr>
              <a:spLocks noChangeArrowheads="1"/>
            </p:cNvSpPr>
            <p:nvPr/>
          </p:nvSpPr>
          <p:spPr bwMode="auto">
            <a:xfrm>
              <a:off x="528" y="1837"/>
              <a:ext cx="177" cy="40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42" name="Rectangle 407"/>
            <p:cNvSpPr>
              <a:spLocks noChangeArrowheads="1"/>
            </p:cNvSpPr>
            <p:nvPr/>
          </p:nvSpPr>
          <p:spPr bwMode="auto">
            <a:xfrm>
              <a:off x="653" y="1803"/>
              <a:ext cx="112" cy="43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43" name="Rectangle 408"/>
            <p:cNvSpPr>
              <a:spLocks noChangeArrowheads="1"/>
            </p:cNvSpPr>
            <p:nvPr/>
          </p:nvSpPr>
          <p:spPr bwMode="auto">
            <a:xfrm>
              <a:off x="596" y="1945"/>
              <a:ext cx="97" cy="29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grpSp>
      <p:cxnSp>
        <p:nvCxnSpPr>
          <p:cNvPr id="244" name="Straight Connector 243"/>
          <p:cNvCxnSpPr/>
          <p:nvPr/>
        </p:nvCxnSpPr>
        <p:spPr>
          <a:xfrm>
            <a:off x="3753330" y="5904923"/>
            <a:ext cx="896425" cy="0"/>
          </a:xfrm>
          <a:prstGeom prst="line">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5" name="Oval 244"/>
          <p:cNvSpPr/>
          <p:nvPr/>
        </p:nvSpPr>
        <p:spPr bwMode="auto">
          <a:xfrm>
            <a:off x="3623182" y="5855763"/>
            <a:ext cx="98321" cy="98321"/>
          </a:xfrm>
          <a:prstGeom prst="ellipse">
            <a:avLst/>
          </a:prstGeom>
          <a:solidFill>
            <a:schemeClr val="tx2">
              <a:lumMod val="75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246" name="Oval 245"/>
          <p:cNvSpPr/>
          <p:nvPr/>
        </p:nvSpPr>
        <p:spPr bwMode="auto">
          <a:xfrm>
            <a:off x="7914957" y="5855763"/>
            <a:ext cx="98321" cy="98321"/>
          </a:xfrm>
          <a:prstGeom prst="ellipse">
            <a:avLst/>
          </a:prstGeom>
          <a:solidFill>
            <a:schemeClr val="tx2">
              <a:lumMod val="75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247" name="Freeform 396"/>
          <p:cNvSpPr>
            <a:spLocks noEditPoints="1"/>
          </p:cNvSpPr>
          <p:nvPr/>
        </p:nvSpPr>
        <p:spPr bwMode="auto">
          <a:xfrm>
            <a:off x="5406322" y="4758545"/>
            <a:ext cx="114240" cy="16320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48" name="Freeform 397"/>
          <p:cNvSpPr>
            <a:spLocks/>
          </p:cNvSpPr>
          <p:nvPr/>
        </p:nvSpPr>
        <p:spPr bwMode="auto">
          <a:xfrm>
            <a:off x="5963625" y="4758544"/>
            <a:ext cx="68907" cy="159574"/>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49" name="Freeform 398"/>
          <p:cNvSpPr>
            <a:spLocks noEditPoints="1"/>
          </p:cNvSpPr>
          <p:nvPr/>
        </p:nvSpPr>
        <p:spPr bwMode="auto">
          <a:xfrm>
            <a:off x="6076051" y="4758545"/>
            <a:ext cx="116054" cy="16320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50" name="Freeform 399"/>
          <p:cNvSpPr>
            <a:spLocks noEditPoints="1"/>
          </p:cNvSpPr>
          <p:nvPr/>
        </p:nvSpPr>
        <p:spPr bwMode="auto">
          <a:xfrm>
            <a:off x="5848004" y="4983400"/>
            <a:ext cx="114240" cy="16320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51" name="Freeform 400"/>
          <p:cNvSpPr>
            <a:spLocks noEditPoints="1"/>
          </p:cNvSpPr>
          <p:nvPr/>
        </p:nvSpPr>
        <p:spPr bwMode="auto">
          <a:xfrm>
            <a:off x="5987631" y="4983400"/>
            <a:ext cx="112427" cy="16320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sp>
        <p:nvSpPr>
          <p:cNvPr id="252" name="Freeform 394"/>
          <p:cNvSpPr>
            <a:spLocks/>
          </p:cNvSpPr>
          <p:nvPr/>
        </p:nvSpPr>
        <p:spPr bwMode="auto">
          <a:xfrm>
            <a:off x="6241167" y="4758544"/>
            <a:ext cx="68907" cy="159574"/>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kern="0" dirty="0">
              <a:solidFill>
                <a:prstClr val="black"/>
              </a:solidFill>
              <a:ea typeface="MS PGothic" charset="0"/>
            </a:endParaRPr>
          </a:p>
        </p:txBody>
      </p:sp>
      <p:grpSp>
        <p:nvGrpSpPr>
          <p:cNvPr id="91" name="Group 90"/>
          <p:cNvGrpSpPr/>
          <p:nvPr/>
        </p:nvGrpSpPr>
        <p:grpSpPr>
          <a:xfrm>
            <a:off x="10851839" y="290613"/>
            <a:ext cx="1049875" cy="1356759"/>
            <a:chOff x="8856125" y="1067127"/>
            <a:chExt cx="528555" cy="752153"/>
          </a:xfrm>
        </p:grpSpPr>
        <p:sp>
          <p:nvSpPr>
            <p:cNvPr id="92"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p:cNvGrpSpPr/>
            <p:nvPr/>
          </p:nvGrpSpPr>
          <p:grpSpPr>
            <a:xfrm rot="10800000">
              <a:off x="8985702" y="1454736"/>
              <a:ext cx="274574" cy="364544"/>
              <a:chOff x="-1278804" y="2084340"/>
              <a:chExt cx="217157" cy="248510"/>
            </a:xfrm>
            <a:gradFill>
              <a:gsLst>
                <a:gs pos="0">
                  <a:srgbClr val="FFFFFF"/>
                </a:gs>
                <a:gs pos="100000">
                  <a:srgbClr val="FFFFFF">
                    <a:alpha val="0"/>
                  </a:srgbClr>
                </a:gs>
              </a:gsLst>
              <a:lin ang="16200000" scaled="1"/>
            </a:gradFill>
          </p:grpSpPr>
          <p:sp>
            <p:nvSpPr>
              <p:cNvPr id="10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5040716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363" t="20981" r="363" b="436"/>
          <a:stretch/>
        </p:blipFill>
        <p:spPr>
          <a:xfrm>
            <a:off x="0" y="-136"/>
            <a:ext cx="5199264" cy="6857650"/>
          </a:xfrm>
          <a:prstGeom prst="rect">
            <a:avLst/>
          </a:prstGeom>
        </p:spPr>
      </p:pic>
      <p:sp>
        <p:nvSpPr>
          <p:cNvPr id="14" name="Text Placeholder 2"/>
          <p:cNvSpPr txBox="1">
            <a:spLocks/>
          </p:cNvSpPr>
          <p:nvPr/>
        </p:nvSpPr>
        <p:spPr bwMode="auto">
          <a:xfrm>
            <a:off x="5199264" y="950520"/>
            <a:ext cx="7081999" cy="51777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58570" tIns="143428" rIns="179285" bIns="143428"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17">
                      <a:schemeClr val="tx2"/>
                    </a:gs>
                    <a:gs pos="100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ts val="2353"/>
              </a:spcBef>
              <a:spcAft>
                <a:spcPct val="0"/>
              </a:spcAft>
              <a:buClrTx/>
              <a:buSzPct val="90000"/>
              <a:buFont typeface="Arial" charset="0"/>
              <a:buNone/>
              <a:tabLst/>
              <a:defRPr/>
            </a:pPr>
            <a:r>
              <a:rPr kumimoji="0" lang="en-US" sz="3529" b="0" i="0" u="none" strike="noStrike" kern="1200" cap="none" spc="0" normalizeH="0" baseline="0" noProof="0" dirty="0">
                <a:ln>
                  <a:noFill/>
                </a:ln>
                <a:solidFill>
                  <a:schemeClr val="bg1"/>
                </a:solidFill>
                <a:effectLst/>
                <a:uLnTx/>
                <a:uFillTx/>
                <a:latin typeface="+mj-lt"/>
                <a:ea typeface="ＭＳ Ｐゴシック" charset="0"/>
                <a:cs typeface="ＭＳ Ｐゴシック" charset="0"/>
              </a:rPr>
              <a:t>Intake millions of events </a:t>
            </a:r>
            <a:br>
              <a:rPr kumimoji="0" lang="en-US" sz="3529" b="0" i="0" u="none" strike="noStrike" kern="1200" cap="none" spc="0" normalizeH="0" baseline="0" noProof="0" dirty="0">
                <a:ln>
                  <a:noFill/>
                </a:ln>
                <a:solidFill>
                  <a:schemeClr val="bg1"/>
                </a:solidFill>
                <a:effectLst/>
                <a:uLnTx/>
                <a:uFillTx/>
                <a:latin typeface="+mj-lt"/>
                <a:ea typeface="ＭＳ Ｐゴシック" charset="0"/>
                <a:cs typeface="ＭＳ Ｐゴシック" charset="0"/>
              </a:rPr>
            </a:br>
            <a:r>
              <a:rPr kumimoji="0" lang="en-US" sz="3529" b="0" i="0" u="none" strike="noStrike" kern="1200" cap="none" spc="0" normalizeH="0" baseline="0" noProof="0" dirty="0">
                <a:ln>
                  <a:noFill/>
                </a:ln>
                <a:solidFill>
                  <a:schemeClr val="bg1"/>
                </a:solidFill>
                <a:effectLst/>
                <a:uLnTx/>
                <a:uFillTx/>
                <a:latin typeface="+mj-lt"/>
                <a:ea typeface="ＭＳ Ｐゴシック" charset="0"/>
                <a:cs typeface="ＭＳ Ｐゴシック" charset="0"/>
              </a:rPr>
              <a:t>per second</a:t>
            </a:r>
          </a:p>
          <a:p>
            <a:pPr marL="0" marR="0" lvl="0" indent="0" algn="l" defTabSz="913505" rtl="0" eaLnBrk="1" fontAlgn="base" latinLnBrk="0" hangingPunct="1">
              <a:lnSpc>
                <a:spcPct val="90000"/>
              </a:lnSpc>
              <a:spcBef>
                <a:spcPts val="2353"/>
              </a:spcBef>
              <a:spcAft>
                <a:spcPct val="0"/>
              </a:spcAft>
              <a:buClrTx/>
              <a:buSzPct val="90000"/>
              <a:buFont typeface="Arial" charset="0"/>
              <a:buNone/>
              <a:tabLst/>
              <a:defRPr/>
            </a:pPr>
            <a:r>
              <a:rPr kumimoji="0" lang="en-US" sz="3529" b="0" i="0" u="none" strike="noStrike" kern="1200" cap="none" spc="0" normalizeH="0" baseline="0" noProof="0" dirty="0">
                <a:ln>
                  <a:noFill/>
                </a:ln>
                <a:solidFill>
                  <a:schemeClr val="bg1"/>
                </a:solidFill>
                <a:effectLst/>
                <a:uLnTx/>
                <a:uFillTx/>
                <a:latin typeface="+mj-lt"/>
                <a:ea typeface="ＭＳ Ｐゴシック" charset="0"/>
                <a:cs typeface="ＭＳ Ｐゴシック" charset="0"/>
              </a:rPr>
              <a:t>Real-time analytics on continuous streams of data </a:t>
            </a:r>
          </a:p>
          <a:p>
            <a:pPr marL="0" marR="0" lvl="0" indent="0" algn="l" defTabSz="913505" rtl="0" eaLnBrk="1" fontAlgn="base" latinLnBrk="0" hangingPunct="1">
              <a:lnSpc>
                <a:spcPct val="100000"/>
              </a:lnSpc>
              <a:spcBef>
                <a:spcPts val="0"/>
              </a:spcBef>
              <a:spcAft>
                <a:spcPct val="0"/>
              </a:spcAft>
              <a:buClrTx/>
              <a:buSzPct val="90000"/>
              <a:buFont typeface="Arial" charset="0"/>
              <a:buNone/>
              <a:tabLst/>
              <a:defRPr/>
            </a:pPr>
            <a:r>
              <a:rPr kumimoji="0" lang="en-US" sz="1765" b="0" i="0" u="none" strike="noStrike" kern="1200" cap="none" spc="0" normalizeH="0" baseline="0" noProof="0" dirty="0">
                <a:ln>
                  <a:noFill/>
                </a:ln>
                <a:solidFill>
                  <a:schemeClr val="bg1"/>
                </a:solidFill>
                <a:effectLst/>
                <a:uLnTx/>
                <a:uFillTx/>
                <a:latin typeface="+mn-lt"/>
                <a:ea typeface="ＭＳ Ｐゴシック" charset="0"/>
                <a:cs typeface="+mn-cs"/>
              </a:rPr>
              <a:t>Detect patterns and anomalies in streaming data</a:t>
            </a:r>
          </a:p>
          <a:p>
            <a:pPr marL="0" marR="0" lvl="0" indent="0" algn="l" defTabSz="913505" rtl="0" eaLnBrk="1" fontAlgn="base" latinLnBrk="0" hangingPunct="1">
              <a:lnSpc>
                <a:spcPct val="100000"/>
              </a:lnSpc>
              <a:spcBef>
                <a:spcPts val="0"/>
              </a:spcBef>
              <a:spcAft>
                <a:spcPct val="0"/>
              </a:spcAft>
              <a:buClrTx/>
              <a:buSzPct val="90000"/>
              <a:buFont typeface="Arial" charset="0"/>
              <a:buNone/>
              <a:tabLst/>
              <a:defRPr/>
            </a:pPr>
            <a:r>
              <a:rPr kumimoji="0" lang="en-US" sz="1765" b="0" i="0" u="none" strike="noStrike" kern="1200" cap="none" spc="0" normalizeH="0" baseline="0" noProof="0" dirty="0">
                <a:ln>
                  <a:noFill/>
                </a:ln>
                <a:solidFill>
                  <a:schemeClr val="bg1"/>
                </a:solidFill>
                <a:effectLst/>
                <a:uLnTx/>
                <a:uFillTx/>
                <a:latin typeface="+mn-lt"/>
                <a:ea typeface="ＭＳ Ｐゴシック" charset="0"/>
                <a:cs typeface="+mn-cs"/>
              </a:rPr>
              <a:t>Transform, augment, correlate, temporal operations</a:t>
            </a:r>
          </a:p>
          <a:p>
            <a:pPr marL="0" marR="0" lvl="0" indent="0" algn="l" defTabSz="913505" rtl="0" eaLnBrk="1" fontAlgn="base" latinLnBrk="0" hangingPunct="1">
              <a:lnSpc>
                <a:spcPct val="90000"/>
              </a:lnSpc>
              <a:spcBef>
                <a:spcPts val="2353"/>
              </a:spcBef>
              <a:spcAft>
                <a:spcPct val="0"/>
              </a:spcAft>
              <a:buClrTx/>
              <a:buSzPct val="90000"/>
              <a:buFont typeface="Arial" charset="0"/>
              <a:buNone/>
              <a:tabLst/>
              <a:defRPr/>
            </a:pPr>
            <a:r>
              <a:rPr kumimoji="0" lang="en-US" sz="3529" b="0" i="0" u="none" strike="noStrike" kern="1200" cap="none" spc="0" normalizeH="0" baseline="0" noProof="0" dirty="0">
                <a:ln>
                  <a:noFill/>
                </a:ln>
                <a:solidFill>
                  <a:schemeClr val="bg1"/>
                </a:solidFill>
                <a:effectLst/>
                <a:uLnTx/>
                <a:uFillTx/>
                <a:latin typeface="+mj-lt"/>
                <a:ea typeface="ＭＳ Ｐゴシック" charset="0"/>
                <a:cs typeface="ＭＳ Ｐゴシック" charset="0"/>
              </a:rPr>
              <a:t>Access Information</a:t>
            </a:r>
            <a:r>
              <a:rPr kumimoji="0" lang="en-US" sz="3529" b="0" i="0" u="none" strike="noStrike" kern="1200" cap="none" spc="0" normalizeH="0" noProof="0" dirty="0">
                <a:ln>
                  <a:noFill/>
                </a:ln>
                <a:solidFill>
                  <a:schemeClr val="bg1"/>
                </a:solidFill>
                <a:effectLst/>
                <a:uLnTx/>
                <a:uFillTx/>
                <a:latin typeface="+mj-lt"/>
                <a:ea typeface="ＭＳ Ｐゴシック" charset="0"/>
                <a:cs typeface="ＭＳ Ｐゴシック" charset="0"/>
              </a:rPr>
              <a:t> when it is required</a:t>
            </a:r>
          </a:p>
          <a:p>
            <a:pPr marL="0" marR="0" lvl="0" indent="0" algn="l" defTabSz="913505" rtl="0" eaLnBrk="1" fontAlgn="base" latinLnBrk="0" hangingPunct="1">
              <a:lnSpc>
                <a:spcPct val="90000"/>
              </a:lnSpc>
              <a:spcBef>
                <a:spcPts val="2353"/>
              </a:spcBef>
              <a:spcAft>
                <a:spcPct val="0"/>
              </a:spcAft>
              <a:buClrTx/>
              <a:buSzPct val="90000"/>
              <a:buFont typeface="Arial" charset="0"/>
              <a:buNone/>
              <a:tabLst/>
              <a:defRPr/>
            </a:pPr>
            <a:r>
              <a:rPr lang="en-US" sz="3529" baseline="0" dirty="0">
                <a:solidFill>
                  <a:schemeClr val="bg1"/>
                </a:solidFill>
              </a:rPr>
              <a:t>Act</a:t>
            </a:r>
            <a:r>
              <a:rPr lang="en-US" sz="3529" dirty="0">
                <a:solidFill>
                  <a:schemeClr val="bg1"/>
                </a:solidFill>
              </a:rPr>
              <a:t> on this real time data</a:t>
            </a:r>
            <a:endParaRPr kumimoji="0" lang="en-US" sz="3529" b="0" i="0" u="none" strike="noStrike" kern="1200" cap="none" spc="0" normalizeH="0" baseline="0" noProof="0" dirty="0">
              <a:ln>
                <a:noFill/>
              </a:ln>
              <a:solidFill>
                <a:schemeClr val="bg1"/>
              </a:solidFill>
              <a:effectLst/>
              <a:uLnTx/>
              <a:uFillTx/>
              <a:latin typeface="+mj-lt"/>
              <a:ea typeface="ＭＳ Ｐゴシック" charset="0"/>
              <a:cs typeface="ＭＳ Ｐゴシック" charset="0"/>
            </a:endParaRPr>
          </a:p>
        </p:txBody>
      </p:sp>
      <p:sp>
        <p:nvSpPr>
          <p:cNvPr id="18" name="Title 1"/>
          <p:cNvSpPr txBox="1">
            <a:spLocks/>
          </p:cNvSpPr>
          <p:nvPr/>
        </p:nvSpPr>
        <p:spPr>
          <a:xfrm>
            <a:off x="269241" y="291547"/>
            <a:ext cx="4481811" cy="1647426"/>
          </a:xfrm>
          <a:prstGeom prst="rect">
            <a:avLst/>
          </a:prstGeom>
        </p:spPr>
        <p:txBody>
          <a:bodyPr vert="horz" wrap="square" lIns="143428" tIns="89642" rIns="143428" bIns="89642" rtlCol="0" anchor="t">
            <a:spAutoFit/>
          </a:bodyPr>
          <a:lstStyle>
            <a:lvl1pPr algn="l" defTabSz="931863" rtl="0" fontAlgn="base">
              <a:lnSpc>
                <a:spcPct val="90000"/>
              </a:lnSpc>
              <a:spcBef>
                <a:spcPct val="0"/>
              </a:spcBef>
              <a:spcAft>
                <a:spcPct val="0"/>
              </a:spcAft>
              <a:defRPr lang="en-US" sz="5400" kern="1200" spc="-102"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100" normalizeH="0" baseline="0" noProof="0" dirty="0">
                <a:ln w="3175">
                  <a:noFill/>
                </a:ln>
                <a:gradFill>
                  <a:gsLst>
                    <a:gs pos="0">
                      <a:srgbClr val="FFFFFF"/>
                    </a:gs>
                    <a:gs pos="100000">
                      <a:srgbClr val="FFFFFF"/>
                    </a:gs>
                  </a:gsLst>
                  <a:lin ang="5400000" scaled="0"/>
                </a:gradFill>
                <a:effectLst/>
                <a:uLnTx/>
                <a:uFillTx/>
                <a:latin typeface="+mj-lt"/>
                <a:ea typeface="ＭＳ Ｐゴシック" charset="0"/>
                <a:cs typeface="Segoe UI" pitchFamily="34" charset="0"/>
              </a:rPr>
              <a:t>Real-time analytics</a:t>
            </a:r>
          </a:p>
        </p:txBody>
      </p:sp>
      <p:grpSp>
        <p:nvGrpSpPr>
          <p:cNvPr id="5" name="Group 4"/>
          <p:cNvGrpSpPr/>
          <p:nvPr/>
        </p:nvGrpSpPr>
        <p:grpSpPr>
          <a:xfrm>
            <a:off x="10851839" y="290613"/>
            <a:ext cx="1049875" cy="1356759"/>
            <a:chOff x="8856125" y="1067127"/>
            <a:chExt cx="528555" cy="752153"/>
          </a:xfrm>
        </p:grpSpPr>
        <p:sp>
          <p:nvSpPr>
            <p:cNvPr id="7"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p:cNvGrpSpPr/>
            <p:nvPr/>
          </p:nvGrpSpPr>
          <p:grpSpPr>
            <a:xfrm rot="10800000">
              <a:off x="8985702" y="1454736"/>
              <a:ext cx="274574" cy="364544"/>
              <a:chOff x="-1278804" y="2084340"/>
              <a:chExt cx="217157" cy="248510"/>
            </a:xfrm>
            <a:gradFill>
              <a:gsLst>
                <a:gs pos="0">
                  <a:srgbClr val="FFFFFF"/>
                </a:gs>
                <a:gs pos="100000">
                  <a:srgbClr val="FFFFFF">
                    <a:alpha val="0"/>
                  </a:srgbClr>
                </a:gs>
              </a:gsLst>
              <a:lin ang="16200000" scaled="1"/>
            </a:gradFill>
          </p:grpSpPr>
          <p:sp>
            <p:nvSpPr>
              <p:cNvPr id="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3298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268460" y="1890715"/>
            <a:ext cx="11655079" cy="4482124"/>
            <a:chOff x="273027" y="1211287"/>
            <a:chExt cx="11888788" cy="4572000"/>
          </a:xfrm>
        </p:grpSpPr>
        <p:grpSp>
          <p:nvGrpSpPr>
            <p:cNvPr id="46" name="Group 45"/>
            <p:cNvGrpSpPr/>
            <p:nvPr/>
          </p:nvGrpSpPr>
          <p:grpSpPr>
            <a:xfrm>
              <a:off x="273027" y="1211316"/>
              <a:ext cx="3933595" cy="4571971"/>
              <a:chOff x="273027" y="1211316"/>
              <a:chExt cx="3933595" cy="4571971"/>
            </a:xfrm>
          </p:grpSpPr>
          <p:grpSp>
            <p:nvGrpSpPr>
              <p:cNvPr id="36" name="Group 35"/>
              <p:cNvGrpSpPr/>
              <p:nvPr/>
            </p:nvGrpSpPr>
            <p:grpSpPr>
              <a:xfrm>
                <a:off x="274702" y="1211316"/>
                <a:ext cx="3931920" cy="3931920"/>
                <a:chOff x="274702" y="1211316"/>
                <a:chExt cx="3931920" cy="3931920"/>
              </a:xfrm>
            </p:grpSpPr>
            <p:pic>
              <p:nvPicPr>
                <p:cNvPr id="30" name="Picture 29"/>
                <p:cNvPicPr>
                  <a:picLocks noChangeAspect="1"/>
                </p:cNvPicPr>
                <p:nvPr/>
              </p:nvPicPr>
              <p:blipFill rotWithShape="1">
                <a:blip r:embed="rId3"/>
                <a:srcRect l="257" t="11551" r="257" b="11551"/>
                <a:stretch/>
              </p:blipFill>
              <p:spPr>
                <a:xfrm>
                  <a:off x="274702" y="1211316"/>
                  <a:ext cx="3931920" cy="3931920"/>
                </a:xfrm>
                <a:prstGeom prst="rect">
                  <a:avLst/>
                </a:prstGeom>
              </p:spPr>
            </p:pic>
            <p:sp>
              <p:nvSpPr>
                <p:cNvPr id="31" name="TextBox 30"/>
                <p:cNvSpPr txBox="1"/>
                <p:nvPr/>
              </p:nvSpPr>
              <p:spPr>
                <a:xfrm>
                  <a:off x="274702" y="1211316"/>
                  <a:ext cx="1677382" cy="849463"/>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3921" b="0" i="0" u="none" strike="noStrike" kern="0" cap="none" spc="0" normalizeH="0" baseline="0" noProof="0" dirty="0">
                      <a:ln>
                        <a:noFill/>
                      </a:ln>
                      <a:gradFill>
                        <a:gsLst>
                          <a:gs pos="2917">
                            <a:srgbClr val="FFFFFF"/>
                          </a:gs>
                          <a:gs pos="100000">
                            <a:srgbClr val="FFFFFF"/>
                          </a:gs>
                        </a:gsLst>
                        <a:lin ang="5400000" scaled="0"/>
                      </a:gradFill>
                      <a:effectLst/>
                      <a:uLnTx/>
                      <a:uFillTx/>
                      <a:latin typeface="+mj-lt"/>
                    </a:rPr>
                    <a:t>Enrich</a:t>
                  </a:r>
                </a:p>
              </p:txBody>
            </p:sp>
          </p:grpSp>
          <p:sp>
            <p:nvSpPr>
              <p:cNvPr id="37" name="Rectangle 36"/>
              <p:cNvSpPr/>
              <p:nvPr/>
            </p:nvSpPr>
            <p:spPr bwMode="auto">
              <a:xfrm>
                <a:off x="273027" y="5143207"/>
                <a:ext cx="3931920" cy="640080"/>
              </a:xfrm>
              <a:prstGeom prst="rect">
                <a:avLst/>
              </a:prstGeom>
              <a:solidFill>
                <a:srgbClr val="00208F"/>
              </a:solidFill>
            </p:spPr>
            <p:txBody>
              <a:bodyPr wrap="square" lIns="179285" tIns="143428" rIns="179285" bIns="143428" rtlCol="0">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961" b="0" i="0" u="none" strike="noStrike" kern="0" cap="all" spc="-118"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RETAIN For Future PROCESSING</a:t>
                </a:r>
              </a:p>
            </p:txBody>
          </p:sp>
        </p:grpSp>
        <p:grpSp>
          <p:nvGrpSpPr>
            <p:cNvPr id="47" name="Group 46"/>
            <p:cNvGrpSpPr/>
            <p:nvPr/>
          </p:nvGrpSpPr>
          <p:grpSpPr>
            <a:xfrm>
              <a:off x="4252299" y="1211287"/>
              <a:ext cx="3931920" cy="4572000"/>
              <a:chOff x="4252299" y="1211287"/>
              <a:chExt cx="3931920" cy="4572000"/>
            </a:xfrm>
          </p:grpSpPr>
          <p:grpSp>
            <p:nvGrpSpPr>
              <p:cNvPr id="35" name="Group 34"/>
              <p:cNvGrpSpPr/>
              <p:nvPr/>
            </p:nvGrpSpPr>
            <p:grpSpPr>
              <a:xfrm>
                <a:off x="4252299" y="1211287"/>
                <a:ext cx="3931920" cy="3931920"/>
                <a:chOff x="4252299" y="1211287"/>
                <a:chExt cx="3931920" cy="3931920"/>
              </a:xfrm>
            </p:grpSpPr>
            <p:pic>
              <p:nvPicPr>
                <p:cNvPr id="29" name="Picture 28"/>
                <p:cNvPicPr>
                  <a:picLocks noChangeAspect="1"/>
                </p:cNvPicPr>
                <p:nvPr/>
              </p:nvPicPr>
              <p:blipFill rotWithShape="1">
                <a:blip r:embed="rId4"/>
                <a:srcRect l="401" t="401" r="401" b="401"/>
                <a:stretch/>
              </p:blipFill>
              <p:spPr>
                <a:xfrm>
                  <a:off x="4252299" y="1211287"/>
                  <a:ext cx="3931920" cy="3931920"/>
                </a:xfrm>
                <a:prstGeom prst="rect">
                  <a:avLst/>
                </a:prstGeom>
              </p:spPr>
            </p:pic>
            <p:sp>
              <p:nvSpPr>
                <p:cNvPr id="32" name="TextBox 31"/>
                <p:cNvSpPr txBox="1"/>
                <p:nvPr/>
              </p:nvSpPr>
              <p:spPr>
                <a:xfrm>
                  <a:off x="4252299" y="1211316"/>
                  <a:ext cx="2241639" cy="849463"/>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3921" b="0" i="0" u="none" strike="noStrike" kern="0" cap="none" spc="0" normalizeH="0" baseline="0" noProof="0" dirty="0">
                      <a:ln>
                        <a:noFill/>
                      </a:ln>
                      <a:gradFill>
                        <a:gsLst>
                          <a:gs pos="2917">
                            <a:srgbClr val="FFFFFF"/>
                          </a:gs>
                          <a:gs pos="100000">
                            <a:srgbClr val="FFFFFF"/>
                          </a:gs>
                        </a:gsLst>
                        <a:lin ang="5400000" scaled="0"/>
                      </a:gradFill>
                      <a:effectLst/>
                      <a:uLnTx/>
                      <a:uFillTx/>
                      <a:latin typeface="+mj-lt"/>
                    </a:rPr>
                    <a:t>Analytics</a:t>
                  </a:r>
                </a:p>
              </p:txBody>
            </p:sp>
          </p:grpSp>
          <p:sp>
            <p:nvSpPr>
              <p:cNvPr id="38" name="Rectangle 37"/>
              <p:cNvSpPr/>
              <p:nvPr/>
            </p:nvSpPr>
            <p:spPr bwMode="auto">
              <a:xfrm>
                <a:off x="4252299" y="5143207"/>
                <a:ext cx="3931920" cy="640080"/>
              </a:xfrm>
              <a:prstGeom prst="rect">
                <a:avLst/>
              </a:prstGeom>
              <a:solidFill>
                <a:srgbClr val="0058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961" b="0" i="0" u="none" strike="noStrike" kern="0" cap="all"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S PGothic" charset="0"/>
                    <a:cs typeface="Segoe UI Semibold" panose="020B0702040204020203" pitchFamily="34" charset="0"/>
                  </a:rPr>
                  <a:t>Telemetry/log processing</a:t>
                </a:r>
              </a:p>
            </p:txBody>
          </p:sp>
        </p:grpSp>
        <p:grpSp>
          <p:nvGrpSpPr>
            <p:cNvPr id="48" name="Group 47"/>
            <p:cNvGrpSpPr/>
            <p:nvPr/>
          </p:nvGrpSpPr>
          <p:grpSpPr>
            <a:xfrm>
              <a:off x="8229895" y="1211287"/>
              <a:ext cx="3931920" cy="4572000"/>
              <a:chOff x="8229895" y="1211287"/>
              <a:chExt cx="3931920" cy="4572000"/>
            </a:xfrm>
          </p:grpSpPr>
          <p:grpSp>
            <p:nvGrpSpPr>
              <p:cNvPr id="45" name="Group 44"/>
              <p:cNvGrpSpPr/>
              <p:nvPr/>
            </p:nvGrpSpPr>
            <p:grpSpPr>
              <a:xfrm>
                <a:off x="8229895" y="1211287"/>
                <a:ext cx="3931920" cy="3931920"/>
                <a:chOff x="8229895" y="1211287"/>
                <a:chExt cx="3931920" cy="3931920"/>
              </a:xfrm>
            </p:grpSpPr>
            <p:pic>
              <p:nvPicPr>
                <p:cNvPr id="44" name="Picture 43"/>
                <p:cNvPicPr>
                  <a:picLocks noChangeAspect="1"/>
                </p:cNvPicPr>
                <p:nvPr/>
              </p:nvPicPr>
              <p:blipFill rotWithShape="1">
                <a:blip r:embed="rId5"/>
                <a:srcRect l="543" t="543" r="543" b="543"/>
                <a:stretch/>
              </p:blipFill>
              <p:spPr>
                <a:xfrm>
                  <a:off x="8229895" y="1211287"/>
                  <a:ext cx="3931920" cy="3931920"/>
                </a:xfrm>
                <a:prstGeom prst="rect">
                  <a:avLst/>
                </a:prstGeom>
              </p:spPr>
            </p:pic>
            <p:sp>
              <p:nvSpPr>
                <p:cNvPr id="33" name="TextBox 32"/>
                <p:cNvSpPr txBox="1"/>
                <p:nvPr/>
              </p:nvSpPr>
              <p:spPr>
                <a:xfrm>
                  <a:off x="8229895" y="1211316"/>
                  <a:ext cx="1938672" cy="849463"/>
                </a:xfrm>
                <a:prstGeom prst="rect">
                  <a:avLst/>
                </a:prstGeom>
                <a:noFill/>
              </p:spPr>
              <p:txBody>
                <a:bodyPr wrap="non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3921" b="0" i="0" u="none" strike="noStrike" kern="0" cap="none" spc="0" normalizeH="0" baseline="0" noProof="0" dirty="0">
                      <a:ln>
                        <a:noFill/>
                      </a:ln>
                      <a:gradFill>
                        <a:gsLst>
                          <a:gs pos="2917">
                            <a:srgbClr val="FFFFFF"/>
                          </a:gs>
                          <a:gs pos="100000">
                            <a:srgbClr val="FFFFFF"/>
                          </a:gs>
                        </a:gsLst>
                        <a:lin ang="5400000" scaled="0"/>
                      </a:gradFill>
                      <a:effectLst/>
                      <a:uLnTx/>
                      <a:uFillTx/>
                      <a:latin typeface="+mj-lt"/>
                    </a:rPr>
                    <a:t>Actions</a:t>
                  </a:r>
                </a:p>
              </p:txBody>
            </p:sp>
          </p:grpSp>
          <p:sp>
            <p:nvSpPr>
              <p:cNvPr id="39" name="Rectangle 38"/>
              <p:cNvSpPr/>
              <p:nvPr/>
            </p:nvSpPr>
            <p:spPr bwMode="auto">
              <a:xfrm>
                <a:off x="8229895" y="5143207"/>
                <a:ext cx="3931920" cy="640080"/>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961" b="0" i="0" u="none" strike="noStrike" kern="0" cap="all"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S PGothic" charset="0"/>
                    <a:cs typeface="Segoe UI Semibold" panose="020B0702040204020203" pitchFamily="34" charset="0"/>
                  </a:rPr>
                  <a:t>Internet of things</a:t>
                </a:r>
              </a:p>
            </p:txBody>
          </p:sp>
        </p:grpSp>
      </p:grpSp>
      <p:sp>
        <p:nvSpPr>
          <p:cNvPr id="42" name="Rectangle 41"/>
          <p:cNvSpPr/>
          <p:nvPr/>
        </p:nvSpPr>
        <p:spPr>
          <a:xfrm>
            <a:off x="0" y="0"/>
            <a:ext cx="12192000" cy="153506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3" name="Group 42"/>
          <p:cNvGrpSpPr/>
          <p:nvPr/>
        </p:nvGrpSpPr>
        <p:grpSpPr>
          <a:xfrm>
            <a:off x="11011634" y="124666"/>
            <a:ext cx="1049875" cy="1356759"/>
            <a:chOff x="8856125" y="1067127"/>
            <a:chExt cx="528555" cy="752153"/>
          </a:xfrm>
        </p:grpSpPr>
        <p:sp>
          <p:nvSpPr>
            <p:cNvPr id="50"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rot="10800000">
              <a:off x="8985702" y="1454736"/>
              <a:ext cx="274574" cy="364544"/>
              <a:chOff x="-1278804" y="2084340"/>
              <a:chExt cx="217157" cy="248510"/>
            </a:xfrm>
            <a:gradFill>
              <a:gsLst>
                <a:gs pos="0">
                  <a:srgbClr val="FFFFFF"/>
                </a:gs>
                <a:gs pos="100000">
                  <a:srgbClr val="FFFFFF">
                    <a:alpha val="0"/>
                  </a:srgbClr>
                </a:gs>
              </a:gsLst>
              <a:lin ang="16200000" scaled="1"/>
            </a:gradFill>
          </p:grpSpPr>
          <p:sp>
            <p:nvSpPr>
              <p:cNvPr id="5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
        <p:nvSpPr>
          <p:cNvPr id="34" name="Title 1"/>
          <p:cNvSpPr>
            <a:spLocks noGrp="1"/>
          </p:cNvSpPr>
          <p:nvPr>
            <p:ph type="title"/>
          </p:nvPr>
        </p:nvSpPr>
        <p:spPr>
          <a:xfrm>
            <a:off x="268460" y="299116"/>
            <a:ext cx="11655840" cy="899665"/>
          </a:xfrm>
        </p:spPr>
        <p:txBody>
          <a:bodyPr anchor="ctr"/>
          <a:lstStyle/>
          <a:p>
            <a:r>
              <a:rPr lang="en-IN" sz="4705" dirty="0">
                <a:solidFill>
                  <a:schemeClr val="bg1"/>
                </a:solidFill>
                <a:ea typeface="+mn-ea"/>
              </a:rPr>
              <a:t>Real time processing scenarios</a:t>
            </a:r>
          </a:p>
        </p:txBody>
      </p:sp>
    </p:spTree>
    <p:extLst>
      <p:ext uri="{BB962C8B-B14F-4D97-AF65-F5344CB8AC3E}">
        <p14:creationId xmlns:p14="http://schemas.microsoft.com/office/powerpoint/2010/main" val="371409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7" name="Group 6"/>
          <p:cNvGrpSpPr/>
          <p:nvPr/>
        </p:nvGrpSpPr>
        <p:grpSpPr>
          <a:xfrm>
            <a:off x="252189" y="1819922"/>
            <a:ext cx="5065536" cy="4656526"/>
            <a:chOff x="1637524" y="360285"/>
            <a:chExt cx="6946951" cy="6094895"/>
          </a:xfrm>
        </p:grpSpPr>
        <p:pic>
          <p:nvPicPr>
            <p:cNvPr id="3" name="Picture 2"/>
            <p:cNvPicPr>
              <a:picLocks noChangeAspect="1"/>
            </p:cNvPicPr>
            <p:nvPr/>
          </p:nvPicPr>
          <p:blipFill>
            <a:blip r:embed="rId3"/>
            <a:stretch>
              <a:fillRect/>
            </a:stretch>
          </p:blipFill>
          <p:spPr>
            <a:xfrm>
              <a:off x="6022250" y="360285"/>
              <a:ext cx="2562225" cy="3048000"/>
            </a:xfrm>
            <a:prstGeom prst="rect">
              <a:avLst/>
            </a:prstGeom>
          </p:spPr>
        </p:pic>
        <p:pic>
          <p:nvPicPr>
            <p:cNvPr id="4" name="Picture 3"/>
            <p:cNvPicPr>
              <a:picLocks noChangeAspect="1"/>
            </p:cNvPicPr>
            <p:nvPr/>
          </p:nvPicPr>
          <p:blipFill>
            <a:blip r:embed="rId4"/>
            <a:stretch>
              <a:fillRect/>
            </a:stretch>
          </p:blipFill>
          <p:spPr>
            <a:xfrm>
              <a:off x="1637524" y="2330855"/>
              <a:ext cx="4238625" cy="4124325"/>
            </a:xfrm>
            <a:prstGeom prst="rect">
              <a:avLst/>
            </a:prstGeom>
          </p:spPr>
        </p:pic>
        <p:sp>
          <p:nvSpPr>
            <p:cNvPr id="5" name="Rectangle 4"/>
            <p:cNvSpPr/>
            <p:nvPr/>
          </p:nvSpPr>
          <p:spPr>
            <a:xfrm>
              <a:off x="6022250" y="3524435"/>
              <a:ext cx="2562225" cy="2930745"/>
            </a:xfrm>
            <a:prstGeom prst="rect">
              <a:avLst/>
            </a:prstGeom>
            <a:solidFill>
              <a:srgbClr val="0079D6"/>
            </a:solidFill>
            <a:ln>
              <a:solidFill>
                <a:srgbClr val="007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 name="Rectangle 5"/>
            <p:cNvSpPr/>
            <p:nvPr/>
          </p:nvSpPr>
          <p:spPr>
            <a:xfrm>
              <a:off x="1637524" y="360285"/>
              <a:ext cx="4238626" cy="1850255"/>
            </a:xfrm>
            <a:prstGeom prst="rect">
              <a:avLst/>
            </a:prstGeom>
            <a:solidFill>
              <a:srgbClr val="0079D6"/>
            </a:solidFill>
            <a:ln>
              <a:solidFill>
                <a:srgbClr val="007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13" name="Group 12"/>
          <p:cNvGrpSpPr/>
          <p:nvPr/>
        </p:nvGrpSpPr>
        <p:grpSpPr>
          <a:xfrm>
            <a:off x="11011634" y="124666"/>
            <a:ext cx="1049875" cy="1356759"/>
            <a:chOff x="8856125" y="1067127"/>
            <a:chExt cx="528555" cy="752153"/>
          </a:xfrm>
        </p:grpSpPr>
        <p:sp>
          <p:nvSpPr>
            <p:cNvPr id="14"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p:cNvGrpSpPr/>
            <p:nvPr/>
          </p:nvGrpSpPr>
          <p:grpSpPr>
            <a:xfrm rot="10800000">
              <a:off x="8985702" y="1454736"/>
              <a:ext cx="274574" cy="364544"/>
              <a:chOff x="-1278804" y="2084340"/>
              <a:chExt cx="217157" cy="248510"/>
            </a:xfrm>
            <a:gradFill>
              <a:gsLst>
                <a:gs pos="0">
                  <a:srgbClr val="FFFFFF"/>
                </a:gs>
                <a:gs pos="100000">
                  <a:srgbClr val="FFFFFF">
                    <a:alpha val="0"/>
                  </a:srgbClr>
                </a:gs>
              </a:gsLst>
              <a:lin ang="16200000" scaled="1"/>
            </a:gradFill>
          </p:grpSpPr>
          <p:sp>
            <p:nvSpPr>
              <p:cNvPr id="16"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
        <p:nvSpPr>
          <p:cNvPr id="2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lang="en-IN" sz="4705" dirty="0">
                <a:solidFill>
                  <a:schemeClr val="bg1"/>
                </a:solidFill>
                <a:latin typeface="Segoe UI Light" panose="020B0502040204020203" pitchFamily="34" charset="0"/>
                <a:ea typeface="+mn-ea"/>
                <a:cs typeface="Segoe UI Light" panose="020B0502040204020203" pitchFamily="34" charset="0"/>
              </a:rPr>
              <a:t>Real time options in Azure</a:t>
            </a:r>
          </a:p>
        </p:txBody>
      </p:sp>
      <p:sp>
        <p:nvSpPr>
          <p:cNvPr id="2" name="Rectangle 1"/>
          <p:cNvSpPr/>
          <p:nvPr/>
        </p:nvSpPr>
        <p:spPr>
          <a:xfrm>
            <a:off x="5653374" y="4875005"/>
            <a:ext cx="5529078" cy="646331"/>
          </a:xfrm>
          <a:prstGeom prst="rect">
            <a:avLst/>
          </a:prstGeom>
        </p:spPr>
        <p:txBody>
          <a:bodyPr wrap="none">
            <a:spAutoFit/>
          </a:bodyPr>
          <a:lstStyle/>
          <a:p>
            <a:pPr>
              <a:defRPr/>
            </a:pPr>
            <a:r>
              <a:rPr lang="en-GB" sz="3600" kern="0" dirty="0">
                <a:solidFill>
                  <a:schemeClr val="bg1"/>
                </a:solidFill>
                <a:latin typeface="Segoe UI Light" panose="020B0502040204020203" pitchFamily="34" charset="0"/>
                <a:cs typeface="Segoe UI Light" panose="020B0502040204020203" pitchFamily="34" charset="0"/>
              </a:rPr>
              <a:t>Apache Spark for HDInsight</a:t>
            </a:r>
          </a:p>
        </p:txBody>
      </p:sp>
      <p:sp>
        <p:nvSpPr>
          <p:cNvPr id="26" name="Rectangle 25"/>
          <p:cNvSpPr/>
          <p:nvPr/>
        </p:nvSpPr>
        <p:spPr>
          <a:xfrm>
            <a:off x="5653374" y="3700864"/>
            <a:ext cx="4620176" cy="646331"/>
          </a:xfrm>
          <a:prstGeom prst="rect">
            <a:avLst/>
          </a:prstGeom>
        </p:spPr>
        <p:txBody>
          <a:bodyPr wrap="none">
            <a:spAutoFit/>
          </a:bodyPr>
          <a:lstStyle/>
          <a:p>
            <a:pPr lvl="0">
              <a:defRPr/>
            </a:pPr>
            <a:r>
              <a:rPr lang="en-GB" sz="3600" kern="0" dirty="0">
                <a:solidFill>
                  <a:schemeClr val="bg1"/>
                </a:solidFill>
                <a:latin typeface="Segoe UI Light" panose="020B0502040204020203" pitchFamily="34" charset="0"/>
                <a:cs typeface="Segoe UI Light" panose="020B0502040204020203" pitchFamily="34" charset="0"/>
              </a:rPr>
              <a:t>Azure Stream Analytics</a:t>
            </a:r>
          </a:p>
        </p:txBody>
      </p:sp>
      <p:sp>
        <p:nvSpPr>
          <p:cNvPr id="27" name="Rectangle 26"/>
          <p:cNvSpPr/>
          <p:nvPr/>
        </p:nvSpPr>
        <p:spPr>
          <a:xfrm>
            <a:off x="5653374" y="2526723"/>
            <a:ext cx="5615640" cy="646331"/>
          </a:xfrm>
          <a:prstGeom prst="rect">
            <a:avLst/>
          </a:prstGeom>
        </p:spPr>
        <p:txBody>
          <a:bodyPr wrap="none">
            <a:spAutoFit/>
          </a:bodyPr>
          <a:lstStyle/>
          <a:p>
            <a:pPr lvl="0">
              <a:defRPr/>
            </a:pPr>
            <a:r>
              <a:rPr lang="en-GB" sz="3600" kern="0" dirty="0">
                <a:solidFill>
                  <a:schemeClr val="bg1"/>
                </a:solidFill>
                <a:latin typeface="Segoe UI Light" panose="020B0502040204020203" pitchFamily="34" charset="0"/>
                <a:cs typeface="Segoe UI Light" panose="020B0502040204020203" pitchFamily="34" charset="0"/>
              </a:rPr>
              <a:t>Apache Storm for HDInsight</a:t>
            </a:r>
          </a:p>
        </p:txBody>
      </p:sp>
    </p:spTree>
    <p:extLst>
      <p:ext uri="{BB962C8B-B14F-4D97-AF65-F5344CB8AC3E}">
        <p14:creationId xmlns:p14="http://schemas.microsoft.com/office/powerpoint/2010/main" val="3368820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6"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4.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5.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3475</TotalTime>
  <Words>1218</Words>
  <Application>Microsoft Office PowerPoint</Application>
  <PresentationFormat>Widescreen</PresentationFormat>
  <Paragraphs>164</Paragraphs>
  <Slides>16</Slides>
  <Notes>14</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37" baseType="lpstr">
      <vt:lpstr>Arial</vt:lpstr>
      <vt:lpstr>Avenir LT Pro 45 Book</vt:lpstr>
      <vt:lpstr>Calibri</vt:lpstr>
      <vt:lpstr>Calibri Light</vt:lpstr>
      <vt:lpstr>Consolas</vt:lpstr>
      <vt:lpstr>MS PGothic</vt:lpstr>
      <vt:lpstr>MS PGothic</vt:lpstr>
      <vt:lpstr>Segoe Pro Light</vt:lpstr>
      <vt:lpstr>Segoe UI</vt:lpstr>
      <vt:lpstr>Segoe UI Light</vt:lpstr>
      <vt:lpstr>Segoe UI Semibold</vt:lpstr>
      <vt:lpstr>Segoe UI Semilight</vt:lpstr>
      <vt:lpstr>Webdings</vt:lpstr>
      <vt:lpstr>Wingdings</vt:lpstr>
      <vt:lpstr>Office Theme</vt:lpstr>
      <vt:lpstr>1_Office Theme</vt:lpstr>
      <vt:lpstr>8_3-30680_Worldwide Partner Conference 2015 </vt:lpstr>
      <vt:lpstr>5_5-30536_Build_2014_Breakout_Template_White_16x9</vt:lpstr>
      <vt:lpstr>1_COLOR TEMPLATE</vt:lpstr>
      <vt:lpstr>STB Conversations 2013</vt:lpstr>
      <vt:lpstr>think-cell Slide</vt:lpstr>
      <vt:lpstr>Real Time Data and Human Happiness? </vt:lpstr>
      <vt:lpstr>PowerPoint Presentation</vt:lpstr>
      <vt:lpstr>PowerPoint Presentation</vt:lpstr>
      <vt:lpstr>Data evolution</vt:lpstr>
      <vt:lpstr>PowerPoint Presentation</vt:lpstr>
      <vt:lpstr>Data challenges</vt:lpstr>
      <vt:lpstr>PowerPoint Presentation</vt:lpstr>
      <vt:lpstr>Real time processing scenarios</vt:lpstr>
      <vt:lpstr>PowerPoint Presentation</vt:lpstr>
      <vt:lpstr>The Current Level of Human Happiness? Real Time Twitter Data and Sentiment Analysis</vt:lpstr>
      <vt:lpstr>ASA: Twitter Demo Architecture</vt:lpstr>
      <vt:lpstr>Build Your Own Real Time Prediction Engine Real Time Azure Machine Learning Models</vt:lpstr>
      <vt:lpstr>ASA: Twitter Demo Architecture</vt:lpstr>
      <vt:lpstr>Cortana Analytics Suite Transform data into intelligent action</vt:lpstr>
      <vt:lpstr>Thanks for listening </vt:lpstr>
      <vt:lpstr>Thanks for liste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Amy Nicholson</dc:creator>
  <cp:lastModifiedBy>Amy Nicholson</cp:lastModifiedBy>
  <cp:revision>32</cp:revision>
  <dcterms:created xsi:type="dcterms:W3CDTF">2016-03-01T06:29:20Z</dcterms:created>
  <dcterms:modified xsi:type="dcterms:W3CDTF">2016-03-03T16:44:04Z</dcterms:modified>
</cp:coreProperties>
</file>